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omments/comment1.xml" ContentType="application/vnd.openxmlformats-officedocument.presentationml.comment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5" r:id="rId3"/>
  </p:sldMasterIdLst>
  <p:notesMasterIdLst>
    <p:notesMasterId r:id="rId55"/>
  </p:notesMasterIdLst>
  <p:handoutMasterIdLst>
    <p:handoutMasterId r:id="rId56"/>
  </p:handoutMasterIdLst>
  <p:sldIdLst>
    <p:sldId id="257" r:id="rId4"/>
    <p:sldId id="260" r:id="rId5"/>
    <p:sldId id="259" r:id="rId6"/>
    <p:sldId id="261" r:id="rId7"/>
    <p:sldId id="262" r:id="rId8"/>
    <p:sldId id="304" r:id="rId9"/>
    <p:sldId id="267" r:id="rId10"/>
    <p:sldId id="268" r:id="rId11"/>
    <p:sldId id="306" r:id="rId12"/>
    <p:sldId id="269" r:id="rId13"/>
    <p:sldId id="307" r:id="rId14"/>
    <p:sldId id="272" r:id="rId15"/>
    <p:sldId id="270" r:id="rId16"/>
    <p:sldId id="271" r:id="rId17"/>
    <p:sldId id="308" r:id="rId18"/>
    <p:sldId id="263" r:id="rId19"/>
    <p:sldId id="264" r:id="rId20"/>
    <p:sldId id="265" r:id="rId21"/>
    <p:sldId id="266" r:id="rId22"/>
    <p:sldId id="273" r:id="rId23"/>
    <p:sldId id="274" r:id="rId24"/>
    <p:sldId id="276" r:id="rId25"/>
    <p:sldId id="275" r:id="rId26"/>
    <p:sldId id="277" r:id="rId27"/>
    <p:sldId id="278" r:id="rId28"/>
    <p:sldId id="279" r:id="rId29"/>
    <p:sldId id="280" r:id="rId30"/>
    <p:sldId id="281" r:id="rId31"/>
    <p:sldId id="282" r:id="rId32"/>
    <p:sldId id="309" r:id="rId33"/>
    <p:sldId id="297" r:id="rId34"/>
    <p:sldId id="284" r:id="rId35"/>
    <p:sldId id="285" r:id="rId36"/>
    <p:sldId id="283" r:id="rId37"/>
    <p:sldId id="286" r:id="rId38"/>
    <p:sldId id="310" r:id="rId39"/>
    <p:sldId id="377" r:id="rId40"/>
    <p:sldId id="289" r:id="rId41"/>
    <p:sldId id="290" r:id="rId42"/>
    <p:sldId id="292" r:id="rId43"/>
    <p:sldId id="291" r:id="rId44"/>
    <p:sldId id="293" r:id="rId45"/>
    <p:sldId id="296" r:id="rId46"/>
    <p:sldId id="298" r:id="rId47"/>
    <p:sldId id="378" r:id="rId48"/>
    <p:sldId id="299" r:id="rId49"/>
    <p:sldId id="300" r:id="rId50"/>
    <p:sldId id="301" r:id="rId51"/>
    <p:sldId id="302" r:id="rId52"/>
    <p:sldId id="379" r:id="rId53"/>
    <p:sldId id="303" r:id="rId54"/>
  </p:sldIdLst>
  <p:sldSz cx="12192000" cy="6858000"/>
  <p:notesSz cx="6797675" cy="9926638"/>
  <p:defaultTextStyle>
    <a:defPPr>
      <a:defRPr lang="en-US"/>
    </a:defPPr>
    <a:lvl1pPr marL="0" algn="l" defTabSz="914357" rtl="0" eaLnBrk="1" latinLnBrk="0" hangingPunct="1">
      <a:defRPr sz="1800" kern="1200">
        <a:solidFill>
          <a:schemeClr val="tx1"/>
        </a:solidFill>
        <a:latin typeface="+mn-lt"/>
        <a:ea typeface="+mn-ea"/>
        <a:cs typeface="+mn-cs"/>
      </a:defRPr>
    </a:lvl1pPr>
    <a:lvl2pPr marL="457178" algn="l" defTabSz="914357" rtl="0" eaLnBrk="1" latinLnBrk="0" hangingPunct="1">
      <a:defRPr sz="1800" kern="1200">
        <a:solidFill>
          <a:schemeClr val="tx1"/>
        </a:solidFill>
        <a:latin typeface="+mn-lt"/>
        <a:ea typeface="+mn-ea"/>
        <a:cs typeface="+mn-cs"/>
      </a:defRPr>
    </a:lvl2pPr>
    <a:lvl3pPr marL="914357" algn="l" defTabSz="914357" rtl="0" eaLnBrk="1" latinLnBrk="0" hangingPunct="1">
      <a:defRPr sz="1800" kern="1200">
        <a:solidFill>
          <a:schemeClr val="tx1"/>
        </a:solidFill>
        <a:latin typeface="+mn-lt"/>
        <a:ea typeface="+mn-ea"/>
        <a:cs typeface="+mn-cs"/>
      </a:defRPr>
    </a:lvl3pPr>
    <a:lvl4pPr marL="1371536" algn="l" defTabSz="914357" rtl="0" eaLnBrk="1" latinLnBrk="0" hangingPunct="1">
      <a:defRPr sz="1800" kern="1200">
        <a:solidFill>
          <a:schemeClr val="tx1"/>
        </a:solidFill>
        <a:latin typeface="+mn-lt"/>
        <a:ea typeface="+mn-ea"/>
        <a:cs typeface="+mn-cs"/>
      </a:defRPr>
    </a:lvl4pPr>
    <a:lvl5pPr marL="1828714" algn="l" defTabSz="914357" rtl="0" eaLnBrk="1" latinLnBrk="0" hangingPunct="1">
      <a:defRPr sz="1800" kern="1200">
        <a:solidFill>
          <a:schemeClr val="tx1"/>
        </a:solidFill>
        <a:latin typeface="+mn-lt"/>
        <a:ea typeface="+mn-ea"/>
        <a:cs typeface="+mn-cs"/>
      </a:defRPr>
    </a:lvl5pPr>
    <a:lvl6pPr marL="2285892" algn="l" defTabSz="914357" rtl="0" eaLnBrk="1" latinLnBrk="0" hangingPunct="1">
      <a:defRPr sz="1800" kern="1200">
        <a:solidFill>
          <a:schemeClr val="tx1"/>
        </a:solidFill>
        <a:latin typeface="+mn-lt"/>
        <a:ea typeface="+mn-ea"/>
        <a:cs typeface="+mn-cs"/>
      </a:defRPr>
    </a:lvl6pPr>
    <a:lvl7pPr marL="2743070" algn="l" defTabSz="914357" rtl="0" eaLnBrk="1" latinLnBrk="0" hangingPunct="1">
      <a:defRPr sz="1800" kern="1200">
        <a:solidFill>
          <a:schemeClr val="tx1"/>
        </a:solidFill>
        <a:latin typeface="+mn-lt"/>
        <a:ea typeface="+mn-ea"/>
        <a:cs typeface="+mn-cs"/>
      </a:defRPr>
    </a:lvl7pPr>
    <a:lvl8pPr marL="3200249" algn="l" defTabSz="914357" rtl="0" eaLnBrk="1" latinLnBrk="0" hangingPunct="1">
      <a:defRPr sz="1800" kern="1200">
        <a:solidFill>
          <a:schemeClr val="tx1"/>
        </a:solidFill>
        <a:latin typeface="+mn-lt"/>
        <a:ea typeface="+mn-ea"/>
        <a:cs typeface="+mn-cs"/>
      </a:defRPr>
    </a:lvl8pPr>
    <a:lvl9pPr marL="3657428" algn="l" defTabSz="91435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792" autoAdjust="0"/>
    <p:restoredTop sz="90496" autoAdjust="0"/>
  </p:normalViewPr>
  <p:slideViewPr>
    <p:cSldViewPr snapToGrid="0">
      <p:cViewPr varScale="1">
        <p:scale>
          <a:sx n="62" d="100"/>
          <a:sy n="62" d="100"/>
        </p:scale>
        <p:origin x="300"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tableStyles" Target="tableStyle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handoutMaster" Target="handoutMasters/handoutMaster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commentAuthors" Target="commentAuthor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8-08T09:02:47.328" idx="2">
    <p:pos x="3829" y="2651"/>
    <p:text>check what is TSM System</p:text>
  </p:cm>
</p:cmLst>
</file>

<file path=ppt/diagrams/_rels/data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8.png"/></Relationships>
</file>

<file path=ppt/diagrams/_rels/drawing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8.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77A89C-9C2D-42C1-9731-84F2B6EF17C4}" type="doc">
      <dgm:prSet loTypeId="urn:microsoft.com/office/officeart/2005/8/layout/arrow2" loCatId="process" qsTypeId="urn:microsoft.com/office/officeart/2005/8/quickstyle/simple1" qsCatId="simple" csTypeId="urn:microsoft.com/office/officeart/2005/8/colors/accent2_2" csCatId="accent2" phldr="1"/>
      <dgm:spPr/>
      <dgm:t>
        <a:bodyPr/>
        <a:lstStyle/>
        <a:p>
          <a:endParaRPr lang="en-ZA"/>
        </a:p>
      </dgm:t>
    </dgm:pt>
    <dgm:pt modelId="{C5A87B32-2ECD-4CE8-A114-39DCB2783413}">
      <dgm:prSet phldrT="[Text]" custT="1"/>
      <dgm:spPr/>
      <dgm:t>
        <a:bodyPr/>
        <a:lstStyle/>
        <a:p>
          <a:pPr lvl="0" algn="l" defTabSz="666750">
            <a:spcAft>
              <a:spcPct val="35000"/>
            </a:spcAft>
          </a:pPr>
          <a:r>
            <a:rPr lang="en-ZA" sz="1500" b="1" kern="1200" dirty="0">
              <a:solidFill>
                <a:schemeClr val="tx1"/>
              </a:solidFill>
              <a:latin typeface="Arial Narrow" panose="020B0606020202030204" pitchFamily="34" charset="0"/>
            </a:rPr>
            <a:t>2011</a:t>
          </a:r>
        </a:p>
        <a:p>
          <a:pPr marL="171450" lvl="0" indent="-171450" algn="l" defTabSz="914400" rtl="0" eaLnBrk="1" latinLnBrk="0" hangingPunct="1">
            <a:spcAft>
              <a:spcPts val="0"/>
            </a:spcAft>
            <a:buFont typeface="Arial" panose="020B0604020202020204" pitchFamily="34" charset="0"/>
            <a:buChar char="•"/>
          </a:pPr>
          <a:r>
            <a:rPr lang="en-ZA" sz="1100" b="1" kern="1200" dirty="0">
              <a:solidFill>
                <a:schemeClr val="dk1"/>
              </a:solidFill>
              <a:latin typeface="+mn-lt"/>
              <a:ea typeface="+mn-ea"/>
              <a:cs typeface="+mn-cs"/>
            </a:rPr>
            <a:t>National Treasury grants PMTE permission to buy Billing and Accounting solution</a:t>
          </a:r>
        </a:p>
      </dgm:t>
    </dgm:pt>
    <dgm:pt modelId="{1C9A0F80-3C0B-496F-A75D-943B7CEA8D92}" type="parTrans" cxnId="{77BDE9AB-9733-49E2-8693-ADFCB8BEBCCB}">
      <dgm:prSet/>
      <dgm:spPr/>
      <dgm:t>
        <a:bodyPr/>
        <a:lstStyle/>
        <a:p>
          <a:endParaRPr lang="en-ZA"/>
        </a:p>
      </dgm:t>
    </dgm:pt>
    <dgm:pt modelId="{94DAAC81-F46C-43D9-950C-A99A77D7BB54}" type="sibTrans" cxnId="{77BDE9AB-9733-49E2-8693-ADFCB8BEBCCB}">
      <dgm:prSet/>
      <dgm:spPr/>
      <dgm:t>
        <a:bodyPr/>
        <a:lstStyle/>
        <a:p>
          <a:endParaRPr lang="en-ZA"/>
        </a:p>
      </dgm:t>
    </dgm:pt>
    <dgm:pt modelId="{968668F7-C8E2-4399-8C15-141B14F98F56}">
      <dgm:prSet phldrT="[Text]" custT="1"/>
      <dgm:spPr/>
      <dgm:t>
        <a:bodyPr/>
        <a:lstStyle/>
        <a:p>
          <a:pPr lvl="0" algn="l" defTabSz="666750"/>
          <a:r>
            <a:rPr lang="en-ZA" sz="1500" b="1" kern="1200" dirty="0">
              <a:solidFill>
                <a:schemeClr val="tx1"/>
              </a:solidFill>
              <a:latin typeface="Arial Narrow" panose="020B0606020202030204" pitchFamily="34" charset="0"/>
            </a:rPr>
            <a:t>2014</a:t>
          </a:r>
        </a:p>
        <a:p>
          <a:pPr marL="171450" lvl="0" indent="-171450" algn="l" defTabSz="914400" rtl="0" eaLnBrk="1" latinLnBrk="0" hangingPunct="1">
            <a:buFont typeface="Arial" panose="020B0604020202020204" pitchFamily="34" charset="0"/>
            <a:buChar char="•"/>
          </a:pPr>
          <a:r>
            <a:rPr lang="en-ZA" sz="1100" b="1" kern="1200" dirty="0">
              <a:solidFill>
                <a:schemeClr val="dk1"/>
              </a:solidFill>
              <a:latin typeface="+mn-lt"/>
              <a:ea typeface="+mn-ea"/>
              <a:cs typeface="+mn-cs"/>
            </a:rPr>
            <a:t>SAGE went live with Billing and Accounting modules</a:t>
          </a:r>
        </a:p>
      </dgm:t>
    </dgm:pt>
    <dgm:pt modelId="{6A066ACC-A3A6-4797-BF82-A936E7AECEB5}" type="sibTrans" cxnId="{77109F51-6523-4BC3-9074-A64AAEE2E4EF}">
      <dgm:prSet/>
      <dgm:spPr/>
      <dgm:t>
        <a:bodyPr/>
        <a:lstStyle/>
        <a:p>
          <a:endParaRPr lang="en-ZA"/>
        </a:p>
      </dgm:t>
    </dgm:pt>
    <dgm:pt modelId="{89398084-1FE8-4F0A-852E-1B9A7BA155CD}" type="parTrans" cxnId="{77109F51-6523-4BC3-9074-A64AAEE2E4EF}">
      <dgm:prSet/>
      <dgm:spPr/>
      <dgm:t>
        <a:bodyPr/>
        <a:lstStyle/>
        <a:p>
          <a:endParaRPr lang="en-ZA"/>
        </a:p>
      </dgm:t>
    </dgm:pt>
    <dgm:pt modelId="{6C890981-A57B-43E0-AD4F-6E3E8619DB80}">
      <dgm:prSet phldrT="[Text]" custT="1"/>
      <dgm:spPr/>
      <dgm:t>
        <a:bodyPr/>
        <a:lstStyle/>
        <a:p>
          <a:pPr lvl="0" algn="l" defTabSz="666750">
            <a:spcAft>
              <a:spcPct val="35000"/>
            </a:spcAft>
          </a:pPr>
          <a:endParaRPr lang="en-ZA" sz="1500" b="1" kern="1200" dirty="0">
            <a:solidFill>
              <a:schemeClr val="tx1"/>
            </a:solidFill>
            <a:latin typeface="Arial Narrow" panose="020B0606020202030204" pitchFamily="34" charset="0"/>
          </a:endParaRPr>
        </a:p>
      </dgm:t>
    </dgm:pt>
    <dgm:pt modelId="{2BE84E5A-0BFC-4868-8037-D5B1295645E7}" type="sibTrans" cxnId="{7105435B-C82C-42CF-B9E8-CB3839D9FFFE}">
      <dgm:prSet/>
      <dgm:spPr/>
      <dgm:t>
        <a:bodyPr/>
        <a:lstStyle/>
        <a:p>
          <a:endParaRPr lang="en-ZA"/>
        </a:p>
      </dgm:t>
    </dgm:pt>
    <dgm:pt modelId="{783DC65F-56E9-4C4F-BE30-E99D6B37353B}" type="parTrans" cxnId="{7105435B-C82C-42CF-B9E8-CB3839D9FFFE}">
      <dgm:prSet/>
      <dgm:spPr/>
      <dgm:t>
        <a:bodyPr/>
        <a:lstStyle/>
        <a:p>
          <a:endParaRPr lang="en-ZA"/>
        </a:p>
      </dgm:t>
    </dgm:pt>
    <dgm:pt modelId="{A10B5555-1D79-4589-8B97-F61BDBB1AC04}" type="pres">
      <dgm:prSet presAssocID="{E177A89C-9C2D-42C1-9731-84F2B6EF17C4}" presName="arrowDiagram" presStyleCnt="0">
        <dgm:presLayoutVars>
          <dgm:chMax val="5"/>
          <dgm:dir/>
          <dgm:resizeHandles val="exact"/>
        </dgm:presLayoutVars>
      </dgm:prSet>
      <dgm:spPr/>
      <dgm:t>
        <a:bodyPr/>
        <a:lstStyle/>
        <a:p>
          <a:endParaRPr lang="en-ZA"/>
        </a:p>
      </dgm:t>
    </dgm:pt>
    <dgm:pt modelId="{F12D13DE-7BCD-4DA1-A655-F0AB4108EF8F}" type="pres">
      <dgm:prSet presAssocID="{E177A89C-9C2D-42C1-9731-84F2B6EF17C4}" presName="arrow" presStyleLbl="bgShp" presStyleIdx="0" presStyleCnt="1" custScaleX="121669" custLinFactNeighborX="9551" custLinFactNeighborY="-1877"/>
      <dgm:spPr/>
    </dgm:pt>
    <dgm:pt modelId="{B25D2DFC-91FA-4B67-AD08-8F2FD4371764}" type="pres">
      <dgm:prSet presAssocID="{E177A89C-9C2D-42C1-9731-84F2B6EF17C4}" presName="arrowDiagram3" presStyleCnt="0"/>
      <dgm:spPr/>
    </dgm:pt>
    <dgm:pt modelId="{B5E19528-BF3E-4693-B7F2-B97EA0BC7223}" type="pres">
      <dgm:prSet presAssocID="{6C890981-A57B-43E0-AD4F-6E3E8619DB80}" presName="bullet3a" presStyleLbl="node1" presStyleIdx="0" presStyleCnt="3" custLinFactX="-322561" custLinFactY="200000" custLinFactNeighborX="-400000" custLinFactNeighborY="214080"/>
      <dgm:spPr>
        <a:solidFill>
          <a:srgbClr val="FFC000"/>
        </a:solidFill>
        <a:ln>
          <a:solidFill>
            <a:schemeClr val="bg1">
              <a:lumMod val="50000"/>
            </a:schemeClr>
          </a:solidFill>
        </a:ln>
      </dgm:spPr>
    </dgm:pt>
    <dgm:pt modelId="{7904C02E-968B-4363-9974-99569FBE8317}" type="pres">
      <dgm:prSet presAssocID="{6C890981-A57B-43E0-AD4F-6E3E8619DB80}" presName="textBox3a" presStyleLbl="revTx" presStyleIdx="0" presStyleCnt="3" custScaleX="103523" custScaleY="66514" custLinFactNeighborX="-77948" custLinFactNeighborY="15714">
        <dgm:presLayoutVars>
          <dgm:bulletEnabled val="1"/>
        </dgm:presLayoutVars>
      </dgm:prSet>
      <dgm:spPr/>
      <dgm:t>
        <a:bodyPr/>
        <a:lstStyle/>
        <a:p>
          <a:endParaRPr lang="en-ZA"/>
        </a:p>
      </dgm:t>
    </dgm:pt>
    <dgm:pt modelId="{DE629702-96FF-4EB9-9FC9-F89E26F07B79}" type="pres">
      <dgm:prSet presAssocID="{C5A87B32-2ECD-4CE8-A114-39DCB2783413}" presName="bullet3b" presStyleLbl="node1" presStyleIdx="1" presStyleCnt="3" custLinFactX="-208340" custLinFactY="100000" custLinFactNeighborX="-300000" custLinFactNeighborY="133616"/>
      <dgm:spPr>
        <a:solidFill>
          <a:srgbClr val="FFC000"/>
        </a:solidFill>
        <a:ln>
          <a:solidFill>
            <a:schemeClr val="bg1">
              <a:lumMod val="50000"/>
            </a:schemeClr>
          </a:solidFill>
        </a:ln>
      </dgm:spPr>
    </dgm:pt>
    <dgm:pt modelId="{0E6A1A05-2200-45BD-AF72-593A1FA585F1}" type="pres">
      <dgm:prSet presAssocID="{C5A87B32-2ECD-4CE8-A114-39DCB2783413}" presName="textBox3b" presStyleLbl="revTx" presStyleIdx="1" presStyleCnt="3" custScaleX="128892" custScaleY="22913" custLinFactX="-51295" custLinFactNeighborX="-100000" custLinFactNeighborY="31236">
        <dgm:presLayoutVars>
          <dgm:bulletEnabled val="1"/>
        </dgm:presLayoutVars>
      </dgm:prSet>
      <dgm:spPr/>
      <dgm:t>
        <a:bodyPr/>
        <a:lstStyle/>
        <a:p>
          <a:endParaRPr lang="en-ZA"/>
        </a:p>
      </dgm:t>
    </dgm:pt>
    <dgm:pt modelId="{929C5021-4A9F-429D-B359-90659C698B79}" type="pres">
      <dgm:prSet presAssocID="{968668F7-C8E2-4399-8C15-141B14F98F56}" presName="bullet3c" presStyleLbl="node1" presStyleIdx="2" presStyleCnt="3" custLinFactY="200000" custLinFactNeighborX="23266" custLinFactNeighborY="267105"/>
      <dgm:spPr>
        <a:noFill/>
        <a:ln>
          <a:noFill/>
        </a:ln>
      </dgm:spPr>
    </dgm:pt>
    <dgm:pt modelId="{1966A047-A840-4C24-91D2-6BD2BFDFF1EE}" type="pres">
      <dgm:prSet presAssocID="{968668F7-C8E2-4399-8C15-141B14F98F56}" presName="textBox3c" presStyleLbl="revTx" presStyleIdx="2" presStyleCnt="3" custScaleY="10546" custLinFactNeighborX="83349" custLinFactNeighborY="-64202">
        <dgm:presLayoutVars>
          <dgm:bulletEnabled val="1"/>
        </dgm:presLayoutVars>
      </dgm:prSet>
      <dgm:spPr/>
      <dgm:t>
        <a:bodyPr/>
        <a:lstStyle/>
        <a:p>
          <a:endParaRPr lang="en-ZA"/>
        </a:p>
      </dgm:t>
    </dgm:pt>
  </dgm:ptLst>
  <dgm:cxnLst>
    <dgm:cxn modelId="{541BAB9C-7F3D-444C-AD76-44F310642011}" type="presOf" srcId="{C5A87B32-2ECD-4CE8-A114-39DCB2783413}" destId="{0E6A1A05-2200-45BD-AF72-593A1FA585F1}" srcOrd="0" destOrd="0" presId="urn:microsoft.com/office/officeart/2005/8/layout/arrow2"/>
    <dgm:cxn modelId="{77109F51-6523-4BC3-9074-A64AAEE2E4EF}" srcId="{E177A89C-9C2D-42C1-9731-84F2B6EF17C4}" destId="{968668F7-C8E2-4399-8C15-141B14F98F56}" srcOrd="2" destOrd="0" parTransId="{89398084-1FE8-4F0A-852E-1B9A7BA155CD}" sibTransId="{6A066ACC-A3A6-4797-BF82-A936E7AECEB5}"/>
    <dgm:cxn modelId="{17E7F086-3D03-4C95-8A58-41CCFD8E3D89}" type="presOf" srcId="{E177A89C-9C2D-42C1-9731-84F2B6EF17C4}" destId="{A10B5555-1D79-4589-8B97-F61BDBB1AC04}" srcOrd="0" destOrd="0" presId="urn:microsoft.com/office/officeart/2005/8/layout/arrow2"/>
    <dgm:cxn modelId="{8B61A854-CE73-4755-A434-0CCC1DF47A9C}" type="presOf" srcId="{6C890981-A57B-43E0-AD4F-6E3E8619DB80}" destId="{7904C02E-968B-4363-9974-99569FBE8317}" srcOrd="0" destOrd="0" presId="urn:microsoft.com/office/officeart/2005/8/layout/arrow2"/>
    <dgm:cxn modelId="{77BDE9AB-9733-49E2-8693-ADFCB8BEBCCB}" srcId="{E177A89C-9C2D-42C1-9731-84F2B6EF17C4}" destId="{C5A87B32-2ECD-4CE8-A114-39DCB2783413}" srcOrd="1" destOrd="0" parTransId="{1C9A0F80-3C0B-496F-A75D-943B7CEA8D92}" sibTransId="{94DAAC81-F46C-43D9-950C-A99A77D7BB54}"/>
    <dgm:cxn modelId="{7105435B-C82C-42CF-B9E8-CB3839D9FFFE}" srcId="{E177A89C-9C2D-42C1-9731-84F2B6EF17C4}" destId="{6C890981-A57B-43E0-AD4F-6E3E8619DB80}" srcOrd="0" destOrd="0" parTransId="{783DC65F-56E9-4C4F-BE30-E99D6B37353B}" sibTransId="{2BE84E5A-0BFC-4868-8037-D5B1295645E7}"/>
    <dgm:cxn modelId="{755E2088-514F-4E57-8DFB-0C6DB7321798}" type="presOf" srcId="{968668F7-C8E2-4399-8C15-141B14F98F56}" destId="{1966A047-A840-4C24-91D2-6BD2BFDFF1EE}" srcOrd="0" destOrd="0" presId="urn:microsoft.com/office/officeart/2005/8/layout/arrow2"/>
    <dgm:cxn modelId="{840F39C0-C937-4AAF-AB85-DF6F8FC8BC96}" type="presParOf" srcId="{A10B5555-1D79-4589-8B97-F61BDBB1AC04}" destId="{F12D13DE-7BCD-4DA1-A655-F0AB4108EF8F}" srcOrd="0" destOrd="0" presId="urn:microsoft.com/office/officeart/2005/8/layout/arrow2"/>
    <dgm:cxn modelId="{8390AE19-05D3-4164-B336-B12808056F6C}" type="presParOf" srcId="{A10B5555-1D79-4589-8B97-F61BDBB1AC04}" destId="{B25D2DFC-91FA-4B67-AD08-8F2FD4371764}" srcOrd="1" destOrd="0" presId="urn:microsoft.com/office/officeart/2005/8/layout/arrow2"/>
    <dgm:cxn modelId="{59DEB692-4E4D-4717-945E-8AC40DB5C38F}" type="presParOf" srcId="{B25D2DFC-91FA-4B67-AD08-8F2FD4371764}" destId="{B5E19528-BF3E-4693-B7F2-B97EA0BC7223}" srcOrd="0" destOrd="0" presId="urn:microsoft.com/office/officeart/2005/8/layout/arrow2"/>
    <dgm:cxn modelId="{694E66EE-9414-402B-AE12-14E89B360EA8}" type="presParOf" srcId="{B25D2DFC-91FA-4B67-AD08-8F2FD4371764}" destId="{7904C02E-968B-4363-9974-99569FBE8317}" srcOrd="1" destOrd="0" presId="urn:microsoft.com/office/officeart/2005/8/layout/arrow2"/>
    <dgm:cxn modelId="{E18FEF1F-ACB7-40EC-AF06-3D29EB8145F4}" type="presParOf" srcId="{B25D2DFC-91FA-4B67-AD08-8F2FD4371764}" destId="{DE629702-96FF-4EB9-9FC9-F89E26F07B79}" srcOrd="2" destOrd="0" presId="urn:microsoft.com/office/officeart/2005/8/layout/arrow2"/>
    <dgm:cxn modelId="{77BFB555-C5BD-4339-9FA0-F32F2158C634}" type="presParOf" srcId="{B25D2DFC-91FA-4B67-AD08-8F2FD4371764}" destId="{0E6A1A05-2200-45BD-AF72-593A1FA585F1}" srcOrd="3" destOrd="0" presId="urn:microsoft.com/office/officeart/2005/8/layout/arrow2"/>
    <dgm:cxn modelId="{1B1B48C2-B23F-4377-B4DC-9CA56F21EECC}" type="presParOf" srcId="{B25D2DFC-91FA-4B67-AD08-8F2FD4371764}" destId="{929C5021-4A9F-429D-B359-90659C698B79}" srcOrd="4" destOrd="0" presId="urn:microsoft.com/office/officeart/2005/8/layout/arrow2"/>
    <dgm:cxn modelId="{D10277E3-EAA0-4DA5-B358-8843A2330B51}" type="presParOf" srcId="{B25D2DFC-91FA-4B67-AD08-8F2FD4371764}" destId="{1966A047-A840-4C24-91D2-6BD2BFDFF1EE}" srcOrd="5"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77A89C-9C2D-42C1-9731-84F2B6EF17C4}" type="doc">
      <dgm:prSet loTypeId="urn:microsoft.com/office/officeart/2005/8/layout/arrow2" loCatId="process" qsTypeId="urn:microsoft.com/office/officeart/2005/8/quickstyle/simple1" qsCatId="simple" csTypeId="urn:microsoft.com/office/officeart/2005/8/colors/accent2_2" csCatId="accent2" phldr="1"/>
      <dgm:spPr/>
      <dgm:t>
        <a:bodyPr/>
        <a:lstStyle/>
        <a:p>
          <a:endParaRPr lang="en-ZA"/>
        </a:p>
      </dgm:t>
    </dgm:pt>
    <dgm:pt modelId="{6C890981-A57B-43E0-AD4F-6E3E8619DB80}">
      <dgm:prSet phldrT="[Text]" custT="1"/>
      <dgm:spPr/>
      <dgm:t>
        <a:bodyPr/>
        <a:lstStyle/>
        <a:p>
          <a:pPr lvl="0" algn="l" defTabSz="666750">
            <a:spcAft>
              <a:spcPct val="35000"/>
            </a:spcAft>
          </a:pPr>
          <a:r>
            <a:rPr lang="en-ZA" sz="1500" b="1" kern="1200" dirty="0">
              <a:solidFill>
                <a:schemeClr val="tx1"/>
              </a:solidFill>
              <a:latin typeface="Arial Narrow" panose="020B0606020202030204" pitchFamily="34" charset="0"/>
            </a:rPr>
            <a:t>2015</a:t>
          </a:r>
        </a:p>
        <a:p>
          <a:pPr marL="171450" lvl="0" indent="-171450" algn="l" defTabSz="914400" rtl="0" eaLnBrk="1" latinLnBrk="0" hangingPunct="1">
            <a:spcAft>
              <a:spcPts val="0"/>
            </a:spcAft>
            <a:buFont typeface="Arial" panose="020B0604020202020204" pitchFamily="34" charset="0"/>
            <a:buChar char="•"/>
          </a:pPr>
          <a:r>
            <a:rPr lang="en-ZA" sz="1100" b="1" kern="1200" dirty="0">
              <a:solidFill>
                <a:schemeClr val="dk1"/>
              </a:solidFill>
              <a:latin typeface="+mn-lt"/>
              <a:ea typeface="+mn-ea"/>
              <a:cs typeface="+mn-cs"/>
            </a:rPr>
            <a:t>The Department opted to increase the SAGE scope of work to include Lease IN, Lease OUT and Variable payment modules. </a:t>
          </a:r>
        </a:p>
      </dgm:t>
    </dgm:pt>
    <dgm:pt modelId="{783DC65F-56E9-4C4F-BE30-E99D6B37353B}" type="parTrans" cxnId="{7105435B-C82C-42CF-B9E8-CB3839D9FFFE}">
      <dgm:prSet/>
      <dgm:spPr/>
      <dgm:t>
        <a:bodyPr/>
        <a:lstStyle/>
        <a:p>
          <a:endParaRPr lang="en-ZA"/>
        </a:p>
      </dgm:t>
    </dgm:pt>
    <dgm:pt modelId="{2BE84E5A-0BFC-4868-8037-D5B1295645E7}" type="sibTrans" cxnId="{7105435B-C82C-42CF-B9E8-CB3839D9FFFE}">
      <dgm:prSet/>
      <dgm:spPr/>
      <dgm:t>
        <a:bodyPr/>
        <a:lstStyle/>
        <a:p>
          <a:endParaRPr lang="en-ZA"/>
        </a:p>
      </dgm:t>
    </dgm:pt>
    <dgm:pt modelId="{968668F7-C8E2-4399-8C15-141B14F98F56}">
      <dgm:prSet phldrT="[Text]" custT="1"/>
      <dgm:spPr/>
      <dgm:t>
        <a:bodyPr/>
        <a:lstStyle/>
        <a:p>
          <a:pPr lvl="0" algn="l" defTabSz="666750">
            <a:spcAft>
              <a:spcPct val="35000"/>
            </a:spcAft>
          </a:pPr>
          <a:r>
            <a:rPr lang="en-ZA" sz="1500" b="1" kern="1200" dirty="0">
              <a:solidFill>
                <a:schemeClr val="tx1"/>
              </a:solidFill>
              <a:latin typeface="Arial Narrow" panose="020B0606020202030204" pitchFamily="34" charset="0"/>
            </a:rPr>
            <a:t>2017</a:t>
          </a:r>
        </a:p>
        <a:p>
          <a:pPr marL="171450" lvl="0" indent="-171450" algn="l" defTabSz="914400" rtl="0" eaLnBrk="1" latinLnBrk="0" hangingPunct="1">
            <a:spcAft>
              <a:spcPts val="0"/>
            </a:spcAft>
            <a:buFont typeface="Arial" panose="020B0604020202020204" pitchFamily="34" charset="0"/>
            <a:buChar char="•"/>
          </a:pPr>
          <a:r>
            <a:rPr lang="en-ZA" sz="1100" b="1" kern="1200" dirty="0">
              <a:solidFill>
                <a:schemeClr val="dk1"/>
              </a:solidFill>
              <a:latin typeface="+mn-lt"/>
              <a:ea typeface="+mn-ea"/>
              <a:cs typeface="+mn-cs"/>
            </a:rPr>
            <a:t>2017: Deloitte poor performance due to inability to do </a:t>
          </a:r>
          <a:r>
            <a:rPr lang="en-ZA" sz="1100" b="1" kern="1200" dirty="0" err="1">
              <a:solidFill>
                <a:schemeClr val="dk1"/>
              </a:solidFill>
              <a:latin typeface="+mn-lt"/>
              <a:ea typeface="+mn-ea"/>
              <a:cs typeface="+mn-cs"/>
            </a:rPr>
            <a:t>leaseIN</a:t>
          </a:r>
          <a:r>
            <a:rPr lang="en-ZA" sz="1100" b="1" kern="1200" dirty="0">
              <a:solidFill>
                <a:schemeClr val="dk1"/>
              </a:solidFill>
              <a:latin typeface="+mn-lt"/>
              <a:ea typeface="+mn-ea"/>
              <a:cs typeface="+mn-cs"/>
            </a:rPr>
            <a:t> module, ICT Steering Committee decides to release them from delivery of the Lease Out module on condition that they finish the outstanding issues on SAGE by 28 Feb 2018.</a:t>
          </a:r>
        </a:p>
        <a:p>
          <a:pPr marL="171450" lvl="0" indent="-171450" algn="l" defTabSz="914400" rtl="0" eaLnBrk="1" latinLnBrk="0" hangingPunct="1">
            <a:spcAft>
              <a:spcPts val="0"/>
            </a:spcAft>
            <a:buFont typeface="Arial" panose="020B0604020202020204" pitchFamily="34" charset="0"/>
            <a:buChar char="•"/>
          </a:pPr>
          <a:r>
            <a:rPr lang="en-ZA" sz="1100" b="1" kern="1200" dirty="0">
              <a:solidFill>
                <a:schemeClr val="dk1"/>
              </a:solidFill>
              <a:latin typeface="+mn-lt"/>
              <a:ea typeface="+mn-ea"/>
              <a:cs typeface="+mn-cs"/>
            </a:rPr>
            <a:t>ALCM appointed through an open tender (01 August 2017 – 31 July 2019</a:t>
          </a:r>
        </a:p>
      </dgm:t>
    </dgm:pt>
    <dgm:pt modelId="{89398084-1FE8-4F0A-852E-1B9A7BA155CD}" type="parTrans" cxnId="{77109F51-6523-4BC3-9074-A64AAEE2E4EF}">
      <dgm:prSet/>
      <dgm:spPr/>
      <dgm:t>
        <a:bodyPr/>
        <a:lstStyle/>
        <a:p>
          <a:endParaRPr lang="en-ZA"/>
        </a:p>
      </dgm:t>
    </dgm:pt>
    <dgm:pt modelId="{6A066ACC-A3A6-4797-BF82-A936E7AECEB5}" type="sibTrans" cxnId="{77109F51-6523-4BC3-9074-A64AAEE2E4EF}">
      <dgm:prSet/>
      <dgm:spPr/>
      <dgm:t>
        <a:bodyPr/>
        <a:lstStyle/>
        <a:p>
          <a:endParaRPr lang="en-ZA"/>
        </a:p>
      </dgm:t>
    </dgm:pt>
    <dgm:pt modelId="{C5A87B32-2ECD-4CE8-A114-39DCB2783413}">
      <dgm:prSet phldrT="[Text]" custT="1"/>
      <dgm:spPr/>
      <dgm:t>
        <a:bodyPr/>
        <a:lstStyle/>
        <a:p>
          <a:endParaRPr lang="en-ZA" sz="1200" dirty="0">
            <a:solidFill>
              <a:schemeClr val="tx1"/>
            </a:solidFill>
            <a:latin typeface="Arial Narrow" panose="020B0606020202030204" pitchFamily="34" charset="0"/>
          </a:endParaRPr>
        </a:p>
        <a:p>
          <a:endParaRPr lang="en-ZA" sz="1500" dirty="0">
            <a:solidFill>
              <a:srgbClr val="0070C0"/>
            </a:solidFill>
            <a:latin typeface="Arial Narrow" panose="020B0606020202030204" pitchFamily="34" charset="0"/>
          </a:endParaRPr>
        </a:p>
      </dgm:t>
    </dgm:pt>
    <dgm:pt modelId="{94DAAC81-F46C-43D9-950C-A99A77D7BB54}" type="sibTrans" cxnId="{77BDE9AB-9733-49E2-8693-ADFCB8BEBCCB}">
      <dgm:prSet/>
      <dgm:spPr/>
      <dgm:t>
        <a:bodyPr/>
        <a:lstStyle/>
        <a:p>
          <a:endParaRPr lang="en-ZA"/>
        </a:p>
      </dgm:t>
    </dgm:pt>
    <dgm:pt modelId="{1C9A0F80-3C0B-496F-A75D-943B7CEA8D92}" type="parTrans" cxnId="{77BDE9AB-9733-49E2-8693-ADFCB8BEBCCB}">
      <dgm:prSet/>
      <dgm:spPr/>
      <dgm:t>
        <a:bodyPr/>
        <a:lstStyle/>
        <a:p>
          <a:endParaRPr lang="en-ZA"/>
        </a:p>
      </dgm:t>
    </dgm:pt>
    <dgm:pt modelId="{A10B5555-1D79-4589-8B97-F61BDBB1AC04}" type="pres">
      <dgm:prSet presAssocID="{E177A89C-9C2D-42C1-9731-84F2B6EF17C4}" presName="arrowDiagram" presStyleCnt="0">
        <dgm:presLayoutVars>
          <dgm:chMax val="5"/>
          <dgm:dir/>
          <dgm:resizeHandles val="exact"/>
        </dgm:presLayoutVars>
      </dgm:prSet>
      <dgm:spPr/>
      <dgm:t>
        <a:bodyPr/>
        <a:lstStyle/>
        <a:p>
          <a:endParaRPr lang="en-ZA"/>
        </a:p>
      </dgm:t>
    </dgm:pt>
    <dgm:pt modelId="{F12D13DE-7BCD-4DA1-A655-F0AB4108EF8F}" type="pres">
      <dgm:prSet presAssocID="{E177A89C-9C2D-42C1-9731-84F2B6EF17C4}" presName="arrow" presStyleLbl="bgShp" presStyleIdx="0" presStyleCnt="1" custScaleX="125782" custLinFactNeighborX="110" custLinFactNeighborY="1726"/>
      <dgm:spPr/>
    </dgm:pt>
    <dgm:pt modelId="{B25D2DFC-91FA-4B67-AD08-8F2FD4371764}" type="pres">
      <dgm:prSet presAssocID="{E177A89C-9C2D-42C1-9731-84F2B6EF17C4}" presName="arrowDiagram3" presStyleCnt="0"/>
      <dgm:spPr/>
    </dgm:pt>
    <dgm:pt modelId="{B5E19528-BF3E-4693-B7F2-B97EA0BC7223}" type="pres">
      <dgm:prSet presAssocID="{6C890981-A57B-43E0-AD4F-6E3E8619DB80}" presName="bullet3a" presStyleLbl="node1" presStyleIdx="0" presStyleCnt="3" custLinFactX="-312921" custLinFactY="139325" custLinFactNeighborX="-400000" custLinFactNeighborY="200000"/>
      <dgm:spPr>
        <a:solidFill>
          <a:srgbClr val="FFC000"/>
        </a:solidFill>
        <a:ln>
          <a:solidFill>
            <a:schemeClr val="bg1">
              <a:lumMod val="50000"/>
            </a:schemeClr>
          </a:solidFill>
        </a:ln>
      </dgm:spPr>
    </dgm:pt>
    <dgm:pt modelId="{7904C02E-968B-4363-9974-99569FBE8317}" type="pres">
      <dgm:prSet presAssocID="{6C890981-A57B-43E0-AD4F-6E3E8619DB80}" presName="textBox3a" presStyleLbl="revTx" presStyleIdx="0" presStyleCnt="3" custScaleX="308439" custScaleY="48994" custLinFactNeighborX="21769" custLinFactNeighborY="51975">
        <dgm:presLayoutVars>
          <dgm:bulletEnabled val="1"/>
        </dgm:presLayoutVars>
      </dgm:prSet>
      <dgm:spPr/>
      <dgm:t>
        <a:bodyPr/>
        <a:lstStyle/>
        <a:p>
          <a:endParaRPr lang="en-ZA"/>
        </a:p>
      </dgm:t>
    </dgm:pt>
    <dgm:pt modelId="{DE629702-96FF-4EB9-9FC9-F89E26F07B79}" type="pres">
      <dgm:prSet presAssocID="{C5A87B32-2ECD-4CE8-A114-39DCB2783413}" presName="bullet3b" presStyleLbl="node1" presStyleIdx="1" presStyleCnt="3" custLinFactX="-200000" custLinFactY="69047" custLinFactNeighborX="-234792" custLinFactNeighborY="100000"/>
      <dgm:spPr>
        <a:solidFill>
          <a:srgbClr val="FFC000"/>
        </a:solidFill>
        <a:ln>
          <a:solidFill>
            <a:schemeClr val="bg1">
              <a:lumMod val="50000"/>
            </a:schemeClr>
          </a:solidFill>
        </a:ln>
      </dgm:spPr>
    </dgm:pt>
    <dgm:pt modelId="{0E6A1A05-2200-45BD-AF72-593A1FA585F1}" type="pres">
      <dgm:prSet presAssocID="{C5A87B32-2ECD-4CE8-A114-39DCB2783413}" presName="textBox3b" presStyleLbl="revTx" presStyleIdx="1" presStyleCnt="3" custScaleY="88141" custLinFactX="-100000" custLinFactNeighborX="-184538" custLinFactNeighborY="-79828">
        <dgm:presLayoutVars>
          <dgm:bulletEnabled val="1"/>
        </dgm:presLayoutVars>
      </dgm:prSet>
      <dgm:spPr/>
      <dgm:t>
        <a:bodyPr/>
        <a:lstStyle/>
        <a:p>
          <a:endParaRPr lang="en-ZA"/>
        </a:p>
      </dgm:t>
    </dgm:pt>
    <dgm:pt modelId="{929C5021-4A9F-429D-B359-90659C698B79}" type="pres">
      <dgm:prSet presAssocID="{968668F7-C8E2-4399-8C15-141B14F98F56}" presName="bullet3c" presStyleLbl="node1" presStyleIdx="2" presStyleCnt="3" custLinFactX="-100373" custLinFactNeighborX="-200000" custLinFactNeighborY="91315"/>
      <dgm:spPr>
        <a:solidFill>
          <a:srgbClr val="FFC000"/>
        </a:solidFill>
        <a:ln>
          <a:solidFill>
            <a:schemeClr val="bg1">
              <a:lumMod val="50000"/>
            </a:schemeClr>
          </a:solidFill>
        </a:ln>
      </dgm:spPr>
    </dgm:pt>
    <dgm:pt modelId="{1966A047-A840-4C24-91D2-6BD2BFDFF1EE}" type="pres">
      <dgm:prSet presAssocID="{968668F7-C8E2-4399-8C15-141B14F98F56}" presName="textBox3c" presStyleLbl="revTx" presStyleIdx="2" presStyleCnt="3" custScaleX="352799" custScaleY="67092" custLinFactNeighborX="-31083" custLinFactNeighborY="-8865">
        <dgm:presLayoutVars>
          <dgm:bulletEnabled val="1"/>
        </dgm:presLayoutVars>
      </dgm:prSet>
      <dgm:spPr/>
      <dgm:t>
        <a:bodyPr/>
        <a:lstStyle/>
        <a:p>
          <a:endParaRPr lang="en-ZA"/>
        </a:p>
      </dgm:t>
    </dgm:pt>
  </dgm:ptLst>
  <dgm:cxnLst>
    <dgm:cxn modelId="{EE9C3B6F-24B4-4A7E-8B08-A11F15009520}" type="presOf" srcId="{E177A89C-9C2D-42C1-9731-84F2B6EF17C4}" destId="{A10B5555-1D79-4589-8B97-F61BDBB1AC04}" srcOrd="0" destOrd="0" presId="urn:microsoft.com/office/officeart/2005/8/layout/arrow2"/>
    <dgm:cxn modelId="{7105435B-C82C-42CF-B9E8-CB3839D9FFFE}" srcId="{E177A89C-9C2D-42C1-9731-84F2B6EF17C4}" destId="{6C890981-A57B-43E0-AD4F-6E3E8619DB80}" srcOrd="0" destOrd="0" parTransId="{783DC65F-56E9-4C4F-BE30-E99D6B37353B}" sibTransId="{2BE84E5A-0BFC-4868-8037-D5B1295645E7}"/>
    <dgm:cxn modelId="{F599CE13-7DBB-440D-94D6-D6DD4DE85723}" type="presOf" srcId="{968668F7-C8E2-4399-8C15-141B14F98F56}" destId="{1966A047-A840-4C24-91D2-6BD2BFDFF1EE}" srcOrd="0" destOrd="0" presId="urn:microsoft.com/office/officeart/2005/8/layout/arrow2"/>
    <dgm:cxn modelId="{77BDE9AB-9733-49E2-8693-ADFCB8BEBCCB}" srcId="{E177A89C-9C2D-42C1-9731-84F2B6EF17C4}" destId="{C5A87B32-2ECD-4CE8-A114-39DCB2783413}" srcOrd="1" destOrd="0" parTransId="{1C9A0F80-3C0B-496F-A75D-943B7CEA8D92}" sibTransId="{94DAAC81-F46C-43D9-950C-A99A77D7BB54}"/>
    <dgm:cxn modelId="{546116E5-18C4-46A5-80AE-8400ABACFE1F}" type="presOf" srcId="{C5A87B32-2ECD-4CE8-A114-39DCB2783413}" destId="{0E6A1A05-2200-45BD-AF72-593A1FA585F1}" srcOrd="0" destOrd="0" presId="urn:microsoft.com/office/officeart/2005/8/layout/arrow2"/>
    <dgm:cxn modelId="{F771692D-2215-4ED2-A6DE-928850D42F60}" type="presOf" srcId="{6C890981-A57B-43E0-AD4F-6E3E8619DB80}" destId="{7904C02E-968B-4363-9974-99569FBE8317}" srcOrd="0" destOrd="0" presId="urn:microsoft.com/office/officeart/2005/8/layout/arrow2"/>
    <dgm:cxn modelId="{77109F51-6523-4BC3-9074-A64AAEE2E4EF}" srcId="{E177A89C-9C2D-42C1-9731-84F2B6EF17C4}" destId="{968668F7-C8E2-4399-8C15-141B14F98F56}" srcOrd="2" destOrd="0" parTransId="{89398084-1FE8-4F0A-852E-1B9A7BA155CD}" sibTransId="{6A066ACC-A3A6-4797-BF82-A936E7AECEB5}"/>
    <dgm:cxn modelId="{03DB4F8A-DE17-438E-9874-B33821F265C6}" type="presParOf" srcId="{A10B5555-1D79-4589-8B97-F61BDBB1AC04}" destId="{F12D13DE-7BCD-4DA1-A655-F0AB4108EF8F}" srcOrd="0" destOrd="0" presId="urn:microsoft.com/office/officeart/2005/8/layout/arrow2"/>
    <dgm:cxn modelId="{441D2363-0E4F-4386-9189-344C493B5892}" type="presParOf" srcId="{A10B5555-1D79-4589-8B97-F61BDBB1AC04}" destId="{B25D2DFC-91FA-4B67-AD08-8F2FD4371764}" srcOrd="1" destOrd="0" presId="urn:microsoft.com/office/officeart/2005/8/layout/arrow2"/>
    <dgm:cxn modelId="{E561EDD3-111A-4AAA-B3CF-B3E09BB7730C}" type="presParOf" srcId="{B25D2DFC-91FA-4B67-AD08-8F2FD4371764}" destId="{B5E19528-BF3E-4693-B7F2-B97EA0BC7223}" srcOrd="0" destOrd="0" presId="urn:microsoft.com/office/officeart/2005/8/layout/arrow2"/>
    <dgm:cxn modelId="{FB32BEE2-1491-495F-9440-746089DF522A}" type="presParOf" srcId="{B25D2DFC-91FA-4B67-AD08-8F2FD4371764}" destId="{7904C02E-968B-4363-9974-99569FBE8317}" srcOrd="1" destOrd="0" presId="urn:microsoft.com/office/officeart/2005/8/layout/arrow2"/>
    <dgm:cxn modelId="{0B33592D-078B-47E3-8C7E-11E74460A9B4}" type="presParOf" srcId="{B25D2DFC-91FA-4B67-AD08-8F2FD4371764}" destId="{DE629702-96FF-4EB9-9FC9-F89E26F07B79}" srcOrd="2" destOrd="0" presId="urn:microsoft.com/office/officeart/2005/8/layout/arrow2"/>
    <dgm:cxn modelId="{C1AB3287-B8EE-44BA-87E6-EE11268529BC}" type="presParOf" srcId="{B25D2DFC-91FA-4B67-AD08-8F2FD4371764}" destId="{0E6A1A05-2200-45BD-AF72-593A1FA585F1}" srcOrd="3" destOrd="0" presId="urn:microsoft.com/office/officeart/2005/8/layout/arrow2"/>
    <dgm:cxn modelId="{8D59FE66-6A00-4CCC-A993-44A3AEFAF000}" type="presParOf" srcId="{B25D2DFC-91FA-4B67-AD08-8F2FD4371764}" destId="{929C5021-4A9F-429D-B359-90659C698B79}" srcOrd="4" destOrd="0" presId="urn:microsoft.com/office/officeart/2005/8/layout/arrow2"/>
    <dgm:cxn modelId="{104279BC-93B5-4F75-8969-8D7D93C734BA}" type="presParOf" srcId="{B25D2DFC-91FA-4B67-AD08-8F2FD4371764}" destId="{1966A047-A840-4C24-91D2-6BD2BFDFF1EE}" srcOrd="5"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30F4DA-9CA4-40F4-A657-4733563933AD}" type="doc">
      <dgm:prSet loTypeId="urn:microsoft.com/office/officeart/2005/8/layout/process4" loCatId="list" qsTypeId="urn:microsoft.com/office/officeart/2005/8/quickstyle/simple1" qsCatId="simple" csTypeId="urn:microsoft.com/office/officeart/2005/8/colors/colorful5" csCatId="colorful" phldr="1"/>
      <dgm:spPr/>
      <dgm:t>
        <a:bodyPr/>
        <a:lstStyle/>
        <a:p>
          <a:endParaRPr lang="en-ZA"/>
        </a:p>
      </dgm:t>
    </dgm:pt>
    <dgm:pt modelId="{C0A7EC8D-D61E-4E42-B405-FE2DB18FE384}">
      <dgm:prSet phldrT="[Text]"/>
      <dgm:spPr/>
      <dgm:t>
        <a:bodyPr/>
        <a:lstStyle/>
        <a:p>
          <a:r>
            <a:rPr lang="en-ZA" dirty="0"/>
            <a:t>Immovable Asset Register (79.4%)</a:t>
          </a:r>
        </a:p>
      </dgm:t>
    </dgm:pt>
    <dgm:pt modelId="{EAD2AE48-279B-4CB3-A50F-F8B877899558}" type="parTrans" cxnId="{282E2E20-CD9D-49F6-A767-CC81D8B71827}">
      <dgm:prSet/>
      <dgm:spPr/>
      <dgm:t>
        <a:bodyPr/>
        <a:lstStyle/>
        <a:p>
          <a:endParaRPr lang="en-ZA"/>
        </a:p>
      </dgm:t>
    </dgm:pt>
    <dgm:pt modelId="{B26797DA-D126-4880-B270-B930AFA31B7E}" type="sibTrans" cxnId="{282E2E20-CD9D-49F6-A767-CC81D8B71827}">
      <dgm:prSet/>
      <dgm:spPr/>
      <dgm:t>
        <a:bodyPr/>
        <a:lstStyle/>
        <a:p>
          <a:endParaRPr lang="en-ZA"/>
        </a:p>
      </dgm:t>
    </dgm:pt>
    <dgm:pt modelId="{CC12C091-FAAC-4B34-A92C-2AE29CAFFEA5}">
      <dgm:prSet phldrT="[Text]"/>
      <dgm:spPr/>
      <dgm:t>
        <a:bodyPr/>
        <a:lstStyle/>
        <a:p>
          <a:r>
            <a:rPr lang="en-ZA" dirty="0"/>
            <a:t>Lease Management (96.4%)</a:t>
          </a:r>
        </a:p>
      </dgm:t>
    </dgm:pt>
    <dgm:pt modelId="{781BE190-A9F0-4F20-ACA5-4BD9A0350ACF}" type="parTrans" cxnId="{B5D3EE73-1C62-4B60-93A5-03A75187F4EB}">
      <dgm:prSet/>
      <dgm:spPr/>
      <dgm:t>
        <a:bodyPr/>
        <a:lstStyle/>
        <a:p>
          <a:endParaRPr lang="en-ZA"/>
        </a:p>
      </dgm:t>
    </dgm:pt>
    <dgm:pt modelId="{BF75F9DC-7A29-413B-91D8-1C7C45D2E959}" type="sibTrans" cxnId="{B5D3EE73-1C62-4B60-93A5-03A75187F4EB}">
      <dgm:prSet/>
      <dgm:spPr/>
      <dgm:t>
        <a:bodyPr/>
        <a:lstStyle/>
        <a:p>
          <a:endParaRPr lang="en-ZA"/>
        </a:p>
      </dgm:t>
    </dgm:pt>
    <dgm:pt modelId="{4771F0DC-725B-4E8B-8CC8-3D4A96015A23}">
      <dgm:prSet phldrT="[Text]"/>
      <dgm:spPr/>
      <dgm:t>
        <a:bodyPr/>
        <a:lstStyle/>
        <a:p>
          <a:r>
            <a:rPr lang="en-ZA" dirty="0"/>
            <a:t>Facilities Management(80%)</a:t>
          </a:r>
        </a:p>
      </dgm:t>
    </dgm:pt>
    <dgm:pt modelId="{D4BBD2B3-D55D-411F-9738-DC4CF22F3409}" type="parTrans" cxnId="{ACEC0E24-B14D-4408-8602-CADFE0DF4B7F}">
      <dgm:prSet/>
      <dgm:spPr/>
      <dgm:t>
        <a:bodyPr/>
        <a:lstStyle/>
        <a:p>
          <a:endParaRPr lang="en-ZA"/>
        </a:p>
      </dgm:t>
    </dgm:pt>
    <dgm:pt modelId="{29C798E3-16D4-446B-858B-4BF582BC23DB}" type="sibTrans" cxnId="{ACEC0E24-B14D-4408-8602-CADFE0DF4B7F}">
      <dgm:prSet/>
      <dgm:spPr/>
      <dgm:t>
        <a:bodyPr/>
        <a:lstStyle/>
        <a:p>
          <a:endParaRPr lang="en-ZA"/>
        </a:p>
      </dgm:t>
    </dgm:pt>
    <dgm:pt modelId="{C733E5FE-3A13-4F7A-8B1A-A464FB25C2AE}">
      <dgm:prSet phldrT="[Text]"/>
      <dgm:spPr/>
      <dgm:t>
        <a:bodyPr/>
        <a:lstStyle/>
        <a:p>
          <a:r>
            <a:rPr lang="en-ZA" dirty="0"/>
            <a:t>Movable Asset Management(80%)</a:t>
          </a:r>
        </a:p>
      </dgm:t>
    </dgm:pt>
    <dgm:pt modelId="{A6D4B8D0-74B8-4119-A366-69B13CD4EFA1}" type="parTrans" cxnId="{00C1F518-4AFC-4593-ACF7-15403DB89221}">
      <dgm:prSet/>
      <dgm:spPr/>
      <dgm:t>
        <a:bodyPr/>
        <a:lstStyle/>
        <a:p>
          <a:endParaRPr lang="en-ZA"/>
        </a:p>
      </dgm:t>
    </dgm:pt>
    <dgm:pt modelId="{99F30CBA-398C-428B-91FD-C797389CB80F}" type="sibTrans" cxnId="{00C1F518-4AFC-4593-ACF7-15403DB89221}">
      <dgm:prSet/>
      <dgm:spPr/>
      <dgm:t>
        <a:bodyPr/>
        <a:lstStyle/>
        <a:p>
          <a:endParaRPr lang="en-ZA"/>
        </a:p>
      </dgm:t>
    </dgm:pt>
    <dgm:pt modelId="{32F87D98-1459-4FCB-B235-9DE823B4EC7B}">
      <dgm:prSet/>
      <dgm:spPr/>
      <dgm:t>
        <a:bodyPr/>
        <a:lstStyle/>
        <a:p>
          <a:r>
            <a:rPr lang="en-ZA" dirty="0"/>
            <a:t>Construction Projects and budgeting (74%)</a:t>
          </a:r>
        </a:p>
      </dgm:t>
    </dgm:pt>
    <dgm:pt modelId="{08954558-FBBF-4803-8EE1-EF139034F2B3}" type="parTrans" cxnId="{8BBF708E-E565-4CAB-8ED2-C8181F7855F3}">
      <dgm:prSet/>
      <dgm:spPr/>
      <dgm:t>
        <a:bodyPr/>
        <a:lstStyle/>
        <a:p>
          <a:endParaRPr lang="en-ZA"/>
        </a:p>
      </dgm:t>
    </dgm:pt>
    <dgm:pt modelId="{F90D392D-D89B-4F70-97EB-0B04899A606C}" type="sibTrans" cxnId="{8BBF708E-E565-4CAB-8ED2-C8181F7855F3}">
      <dgm:prSet/>
      <dgm:spPr/>
      <dgm:t>
        <a:bodyPr/>
        <a:lstStyle/>
        <a:p>
          <a:endParaRPr lang="en-ZA"/>
        </a:p>
      </dgm:t>
    </dgm:pt>
    <dgm:pt modelId="{0EC3A281-24CA-40B1-89B7-6711D7C4906B}">
      <dgm:prSet/>
      <dgm:spPr/>
      <dgm:t>
        <a:bodyPr/>
        <a:lstStyle/>
        <a:p>
          <a:r>
            <a:rPr lang="en-ZA" dirty="0"/>
            <a:t>UDM Client Relations Management (70%)</a:t>
          </a:r>
        </a:p>
      </dgm:t>
    </dgm:pt>
    <dgm:pt modelId="{41E60C6E-57AC-4D45-8AB9-3C90F00CAC45}" type="parTrans" cxnId="{5146345B-6398-4E4A-BCBD-D4F3EB472768}">
      <dgm:prSet/>
      <dgm:spPr/>
      <dgm:t>
        <a:bodyPr/>
        <a:lstStyle/>
        <a:p>
          <a:endParaRPr lang="en-ZA"/>
        </a:p>
      </dgm:t>
    </dgm:pt>
    <dgm:pt modelId="{E5815D54-2672-4E8F-A1A7-3DC4EAB3F895}" type="sibTrans" cxnId="{5146345B-6398-4E4A-BCBD-D4F3EB472768}">
      <dgm:prSet/>
      <dgm:spPr/>
      <dgm:t>
        <a:bodyPr/>
        <a:lstStyle/>
        <a:p>
          <a:endParaRPr lang="en-ZA"/>
        </a:p>
      </dgm:t>
    </dgm:pt>
    <dgm:pt modelId="{907AA72F-00C7-4DD4-9E0D-B6A737C5B302}">
      <dgm:prSet/>
      <dgm:spPr/>
      <dgm:t>
        <a:bodyPr/>
        <a:lstStyle/>
        <a:p>
          <a:r>
            <a:rPr lang="en-ZA" dirty="0"/>
            <a:t>SCM (41,5%)</a:t>
          </a:r>
        </a:p>
      </dgm:t>
    </dgm:pt>
    <dgm:pt modelId="{B269404E-0616-424B-A942-CE8263C6ECE5}" type="parTrans" cxnId="{EF529513-A11D-4E58-8AD7-BBE53585D002}">
      <dgm:prSet/>
      <dgm:spPr/>
      <dgm:t>
        <a:bodyPr/>
        <a:lstStyle/>
        <a:p>
          <a:endParaRPr lang="en-ZA"/>
        </a:p>
      </dgm:t>
    </dgm:pt>
    <dgm:pt modelId="{EAAFBD30-A5D0-4838-977D-26EBDAF9B82E}" type="sibTrans" cxnId="{EF529513-A11D-4E58-8AD7-BBE53585D002}">
      <dgm:prSet/>
      <dgm:spPr/>
      <dgm:t>
        <a:bodyPr/>
        <a:lstStyle/>
        <a:p>
          <a:endParaRPr lang="en-ZA"/>
        </a:p>
      </dgm:t>
    </dgm:pt>
    <dgm:pt modelId="{992D845D-EE9A-4DD0-B8E9-A17D632112FF}" type="pres">
      <dgm:prSet presAssocID="{D030F4DA-9CA4-40F4-A657-4733563933AD}" presName="Name0" presStyleCnt="0">
        <dgm:presLayoutVars>
          <dgm:dir/>
          <dgm:animLvl val="lvl"/>
          <dgm:resizeHandles val="exact"/>
        </dgm:presLayoutVars>
      </dgm:prSet>
      <dgm:spPr/>
      <dgm:t>
        <a:bodyPr/>
        <a:lstStyle/>
        <a:p>
          <a:endParaRPr lang="en-ZA"/>
        </a:p>
      </dgm:t>
    </dgm:pt>
    <dgm:pt modelId="{B2CEE82C-82D1-407B-A553-AC80F34A42DC}" type="pres">
      <dgm:prSet presAssocID="{C0A7EC8D-D61E-4E42-B405-FE2DB18FE384}" presName="boxAndChildren" presStyleCnt="0"/>
      <dgm:spPr/>
    </dgm:pt>
    <dgm:pt modelId="{1F99E1FA-C327-4FF5-92DA-603B890AB02F}" type="pres">
      <dgm:prSet presAssocID="{C0A7EC8D-D61E-4E42-B405-FE2DB18FE384}" presName="parentTextBox" presStyleLbl="node1" presStyleIdx="0" presStyleCnt="1"/>
      <dgm:spPr/>
      <dgm:t>
        <a:bodyPr/>
        <a:lstStyle/>
        <a:p>
          <a:endParaRPr lang="en-ZA"/>
        </a:p>
      </dgm:t>
    </dgm:pt>
    <dgm:pt modelId="{A7134F4B-16C6-4688-8765-46F4AC4C78F2}" type="pres">
      <dgm:prSet presAssocID="{C0A7EC8D-D61E-4E42-B405-FE2DB18FE384}" presName="entireBox" presStyleLbl="node1" presStyleIdx="0" presStyleCnt="1" custLinFactNeighborX="7787"/>
      <dgm:spPr/>
      <dgm:t>
        <a:bodyPr/>
        <a:lstStyle/>
        <a:p>
          <a:endParaRPr lang="en-ZA"/>
        </a:p>
      </dgm:t>
    </dgm:pt>
    <dgm:pt modelId="{AAE08600-150A-4B9F-9C4E-9796F4413A98}" type="pres">
      <dgm:prSet presAssocID="{C0A7EC8D-D61E-4E42-B405-FE2DB18FE384}" presName="descendantBox" presStyleCnt="0"/>
      <dgm:spPr/>
    </dgm:pt>
    <dgm:pt modelId="{8768265E-770E-42B5-9AD7-DDF11109A8DA}" type="pres">
      <dgm:prSet presAssocID="{CC12C091-FAAC-4B34-A92C-2AE29CAFFEA5}" presName="childTextBox" presStyleLbl="fgAccFollowNode1" presStyleIdx="0" presStyleCnt="6">
        <dgm:presLayoutVars>
          <dgm:bulletEnabled val="1"/>
        </dgm:presLayoutVars>
      </dgm:prSet>
      <dgm:spPr/>
      <dgm:t>
        <a:bodyPr/>
        <a:lstStyle/>
        <a:p>
          <a:endParaRPr lang="en-ZA"/>
        </a:p>
      </dgm:t>
    </dgm:pt>
    <dgm:pt modelId="{53C62269-1B9D-4F6A-80C4-2970613A1A22}" type="pres">
      <dgm:prSet presAssocID="{4771F0DC-725B-4E8B-8CC8-3D4A96015A23}" presName="childTextBox" presStyleLbl="fgAccFollowNode1" presStyleIdx="1" presStyleCnt="6">
        <dgm:presLayoutVars>
          <dgm:bulletEnabled val="1"/>
        </dgm:presLayoutVars>
      </dgm:prSet>
      <dgm:spPr/>
      <dgm:t>
        <a:bodyPr/>
        <a:lstStyle/>
        <a:p>
          <a:endParaRPr lang="en-ZA"/>
        </a:p>
      </dgm:t>
    </dgm:pt>
    <dgm:pt modelId="{25B247E7-4502-4E57-92BA-00A30676F243}" type="pres">
      <dgm:prSet presAssocID="{C733E5FE-3A13-4F7A-8B1A-A464FB25C2AE}" presName="childTextBox" presStyleLbl="fgAccFollowNode1" presStyleIdx="2" presStyleCnt="6">
        <dgm:presLayoutVars>
          <dgm:bulletEnabled val="1"/>
        </dgm:presLayoutVars>
      </dgm:prSet>
      <dgm:spPr/>
      <dgm:t>
        <a:bodyPr/>
        <a:lstStyle/>
        <a:p>
          <a:endParaRPr lang="en-ZA"/>
        </a:p>
      </dgm:t>
    </dgm:pt>
    <dgm:pt modelId="{D1481706-D594-444E-B415-C4B854167A59}" type="pres">
      <dgm:prSet presAssocID="{32F87D98-1459-4FCB-B235-9DE823B4EC7B}" presName="childTextBox" presStyleLbl="fgAccFollowNode1" presStyleIdx="3" presStyleCnt="6">
        <dgm:presLayoutVars>
          <dgm:bulletEnabled val="1"/>
        </dgm:presLayoutVars>
      </dgm:prSet>
      <dgm:spPr/>
      <dgm:t>
        <a:bodyPr/>
        <a:lstStyle/>
        <a:p>
          <a:endParaRPr lang="en-ZA"/>
        </a:p>
      </dgm:t>
    </dgm:pt>
    <dgm:pt modelId="{95CA5C2F-9B64-4802-8BE6-2AAD6DA9A0FE}" type="pres">
      <dgm:prSet presAssocID="{0EC3A281-24CA-40B1-89B7-6711D7C4906B}" presName="childTextBox" presStyleLbl="fgAccFollowNode1" presStyleIdx="4" presStyleCnt="6">
        <dgm:presLayoutVars>
          <dgm:bulletEnabled val="1"/>
        </dgm:presLayoutVars>
      </dgm:prSet>
      <dgm:spPr/>
      <dgm:t>
        <a:bodyPr/>
        <a:lstStyle/>
        <a:p>
          <a:endParaRPr lang="en-ZA"/>
        </a:p>
      </dgm:t>
    </dgm:pt>
    <dgm:pt modelId="{B82F6261-EC1E-41A4-880D-671A54FB9977}" type="pres">
      <dgm:prSet presAssocID="{907AA72F-00C7-4DD4-9E0D-B6A737C5B302}" presName="childTextBox" presStyleLbl="fgAccFollowNode1" presStyleIdx="5" presStyleCnt="6">
        <dgm:presLayoutVars>
          <dgm:bulletEnabled val="1"/>
        </dgm:presLayoutVars>
      </dgm:prSet>
      <dgm:spPr/>
      <dgm:t>
        <a:bodyPr/>
        <a:lstStyle/>
        <a:p>
          <a:endParaRPr lang="en-ZA"/>
        </a:p>
      </dgm:t>
    </dgm:pt>
  </dgm:ptLst>
  <dgm:cxnLst>
    <dgm:cxn modelId="{8BBF708E-E565-4CAB-8ED2-C8181F7855F3}" srcId="{C0A7EC8D-D61E-4E42-B405-FE2DB18FE384}" destId="{32F87D98-1459-4FCB-B235-9DE823B4EC7B}" srcOrd="3" destOrd="0" parTransId="{08954558-FBBF-4803-8EE1-EF139034F2B3}" sibTransId="{F90D392D-D89B-4F70-97EB-0B04899A606C}"/>
    <dgm:cxn modelId="{E813826A-8AF7-4EE4-A0F7-105719A5179F}" type="presOf" srcId="{C733E5FE-3A13-4F7A-8B1A-A464FB25C2AE}" destId="{25B247E7-4502-4E57-92BA-00A30676F243}" srcOrd="0" destOrd="0" presId="urn:microsoft.com/office/officeart/2005/8/layout/process4"/>
    <dgm:cxn modelId="{58FF681A-D2D2-47F2-9D01-C2346C6A5B7E}" type="presOf" srcId="{907AA72F-00C7-4DD4-9E0D-B6A737C5B302}" destId="{B82F6261-EC1E-41A4-880D-671A54FB9977}" srcOrd="0" destOrd="0" presId="urn:microsoft.com/office/officeart/2005/8/layout/process4"/>
    <dgm:cxn modelId="{00C1F518-4AFC-4593-ACF7-15403DB89221}" srcId="{C0A7EC8D-D61E-4E42-B405-FE2DB18FE384}" destId="{C733E5FE-3A13-4F7A-8B1A-A464FB25C2AE}" srcOrd="2" destOrd="0" parTransId="{A6D4B8D0-74B8-4119-A366-69B13CD4EFA1}" sibTransId="{99F30CBA-398C-428B-91FD-C797389CB80F}"/>
    <dgm:cxn modelId="{5146345B-6398-4E4A-BCBD-D4F3EB472768}" srcId="{C0A7EC8D-D61E-4E42-B405-FE2DB18FE384}" destId="{0EC3A281-24CA-40B1-89B7-6711D7C4906B}" srcOrd="4" destOrd="0" parTransId="{41E60C6E-57AC-4D45-8AB9-3C90F00CAC45}" sibTransId="{E5815D54-2672-4E8F-A1A7-3DC4EAB3F895}"/>
    <dgm:cxn modelId="{ACEC0E24-B14D-4408-8602-CADFE0DF4B7F}" srcId="{C0A7EC8D-D61E-4E42-B405-FE2DB18FE384}" destId="{4771F0DC-725B-4E8B-8CC8-3D4A96015A23}" srcOrd="1" destOrd="0" parTransId="{D4BBD2B3-D55D-411F-9738-DC4CF22F3409}" sibTransId="{29C798E3-16D4-446B-858B-4BF582BC23DB}"/>
    <dgm:cxn modelId="{6674D892-B818-495F-80A2-E7AD0024510E}" type="presOf" srcId="{D030F4DA-9CA4-40F4-A657-4733563933AD}" destId="{992D845D-EE9A-4DD0-B8E9-A17D632112FF}" srcOrd="0" destOrd="0" presId="urn:microsoft.com/office/officeart/2005/8/layout/process4"/>
    <dgm:cxn modelId="{898C1545-740A-43B7-B037-2DEACC8CD01D}" type="presOf" srcId="{C0A7EC8D-D61E-4E42-B405-FE2DB18FE384}" destId="{A7134F4B-16C6-4688-8765-46F4AC4C78F2}" srcOrd="1" destOrd="0" presId="urn:microsoft.com/office/officeart/2005/8/layout/process4"/>
    <dgm:cxn modelId="{774358DF-4ECF-4FF5-BF40-144F19B21BA4}" type="presOf" srcId="{4771F0DC-725B-4E8B-8CC8-3D4A96015A23}" destId="{53C62269-1B9D-4F6A-80C4-2970613A1A22}" srcOrd="0" destOrd="0" presId="urn:microsoft.com/office/officeart/2005/8/layout/process4"/>
    <dgm:cxn modelId="{DCE29889-6DA7-47CA-991D-4F6586FF14C6}" type="presOf" srcId="{0EC3A281-24CA-40B1-89B7-6711D7C4906B}" destId="{95CA5C2F-9B64-4802-8BE6-2AAD6DA9A0FE}" srcOrd="0" destOrd="0" presId="urn:microsoft.com/office/officeart/2005/8/layout/process4"/>
    <dgm:cxn modelId="{25C9665D-9BCC-42E3-A43B-8E4B90EA7B2C}" type="presOf" srcId="{32F87D98-1459-4FCB-B235-9DE823B4EC7B}" destId="{D1481706-D594-444E-B415-C4B854167A59}" srcOrd="0" destOrd="0" presId="urn:microsoft.com/office/officeart/2005/8/layout/process4"/>
    <dgm:cxn modelId="{95DE3146-6BB6-45E2-958F-1FA4580A5733}" type="presOf" srcId="{C0A7EC8D-D61E-4E42-B405-FE2DB18FE384}" destId="{1F99E1FA-C327-4FF5-92DA-603B890AB02F}" srcOrd="0" destOrd="0" presId="urn:microsoft.com/office/officeart/2005/8/layout/process4"/>
    <dgm:cxn modelId="{DC6A4545-1E4F-4DEA-972C-8338277948FB}" type="presOf" srcId="{CC12C091-FAAC-4B34-A92C-2AE29CAFFEA5}" destId="{8768265E-770E-42B5-9AD7-DDF11109A8DA}" srcOrd="0" destOrd="0" presId="urn:microsoft.com/office/officeart/2005/8/layout/process4"/>
    <dgm:cxn modelId="{282E2E20-CD9D-49F6-A767-CC81D8B71827}" srcId="{D030F4DA-9CA4-40F4-A657-4733563933AD}" destId="{C0A7EC8D-D61E-4E42-B405-FE2DB18FE384}" srcOrd="0" destOrd="0" parTransId="{EAD2AE48-279B-4CB3-A50F-F8B877899558}" sibTransId="{B26797DA-D126-4880-B270-B930AFA31B7E}"/>
    <dgm:cxn modelId="{B5D3EE73-1C62-4B60-93A5-03A75187F4EB}" srcId="{C0A7EC8D-D61E-4E42-B405-FE2DB18FE384}" destId="{CC12C091-FAAC-4B34-A92C-2AE29CAFFEA5}" srcOrd="0" destOrd="0" parTransId="{781BE190-A9F0-4F20-ACA5-4BD9A0350ACF}" sibTransId="{BF75F9DC-7A29-413B-91D8-1C7C45D2E959}"/>
    <dgm:cxn modelId="{EF529513-A11D-4E58-8AD7-BBE53585D002}" srcId="{C0A7EC8D-D61E-4E42-B405-FE2DB18FE384}" destId="{907AA72F-00C7-4DD4-9E0D-B6A737C5B302}" srcOrd="5" destOrd="0" parTransId="{B269404E-0616-424B-A942-CE8263C6ECE5}" sibTransId="{EAAFBD30-A5D0-4838-977D-26EBDAF9B82E}"/>
    <dgm:cxn modelId="{81C8BC62-50C3-4B9B-801E-994C94E05F81}" type="presParOf" srcId="{992D845D-EE9A-4DD0-B8E9-A17D632112FF}" destId="{B2CEE82C-82D1-407B-A553-AC80F34A42DC}" srcOrd="0" destOrd="0" presId="urn:microsoft.com/office/officeart/2005/8/layout/process4"/>
    <dgm:cxn modelId="{8F8F0058-FCD5-4302-816E-5F275A804BE1}" type="presParOf" srcId="{B2CEE82C-82D1-407B-A553-AC80F34A42DC}" destId="{1F99E1FA-C327-4FF5-92DA-603B890AB02F}" srcOrd="0" destOrd="0" presId="urn:microsoft.com/office/officeart/2005/8/layout/process4"/>
    <dgm:cxn modelId="{651F0615-7326-41C7-9DD1-F8426973D1FD}" type="presParOf" srcId="{B2CEE82C-82D1-407B-A553-AC80F34A42DC}" destId="{A7134F4B-16C6-4688-8765-46F4AC4C78F2}" srcOrd="1" destOrd="0" presId="urn:microsoft.com/office/officeart/2005/8/layout/process4"/>
    <dgm:cxn modelId="{FFAFDA18-6B13-40A0-ACAF-5A72EDECAACB}" type="presParOf" srcId="{B2CEE82C-82D1-407B-A553-AC80F34A42DC}" destId="{AAE08600-150A-4B9F-9C4E-9796F4413A98}" srcOrd="2" destOrd="0" presId="urn:microsoft.com/office/officeart/2005/8/layout/process4"/>
    <dgm:cxn modelId="{2907ACDE-BC37-4158-B506-4FEAD7C0D7EE}" type="presParOf" srcId="{AAE08600-150A-4B9F-9C4E-9796F4413A98}" destId="{8768265E-770E-42B5-9AD7-DDF11109A8DA}" srcOrd="0" destOrd="0" presId="urn:microsoft.com/office/officeart/2005/8/layout/process4"/>
    <dgm:cxn modelId="{3DF12F23-EB85-4273-8F2E-311B42994E8C}" type="presParOf" srcId="{AAE08600-150A-4B9F-9C4E-9796F4413A98}" destId="{53C62269-1B9D-4F6A-80C4-2970613A1A22}" srcOrd="1" destOrd="0" presId="urn:microsoft.com/office/officeart/2005/8/layout/process4"/>
    <dgm:cxn modelId="{B6F7D507-68AE-4240-BF35-BF69008ABCF7}" type="presParOf" srcId="{AAE08600-150A-4B9F-9C4E-9796F4413A98}" destId="{25B247E7-4502-4E57-92BA-00A30676F243}" srcOrd="2" destOrd="0" presId="urn:microsoft.com/office/officeart/2005/8/layout/process4"/>
    <dgm:cxn modelId="{04D7DE70-0A49-492B-A19A-3EE900B0CF28}" type="presParOf" srcId="{AAE08600-150A-4B9F-9C4E-9796F4413A98}" destId="{D1481706-D594-444E-B415-C4B854167A59}" srcOrd="3" destOrd="0" presId="urn:microsoft.com/office/officeart/2005/8/layout/process4"/>
    <dgm:cxn modelId="{39D1AA84-4F7E-44AA-A06A-570ADB3E2A5A}" type="presParOf" srcId="{AAE08600-150A-4B9F-9C4E-9796F4413A98}" destId="{95CA5C2F-9B64-4802-8BE6-2AAD6DA9A0FE}" srcOrd="4" destOrd="0" presId="urn:microsoft.com/office/officeart/2005/8/layout/process4"/>
    <dgm:cxn modelId="{DA6F69B2-FC7E-4B6B-A940-18545F30693B}" type="presParOf" srcId="{AAE08600-150A-4B9F-9C4E-9796F4413A98}" destId="{B82F6261-EC1E-41A4-880D-671A54FB9977}" srcOrd="5"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CE73B2F-FAFD-4EEE-A9FF-F6D4F373E706}"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D30C9C82-5F73-4D59-B9B3-E229F741FA6F}">
      <dgm:prSet phldrT="[Text]"/>
      <dgm:spPr/>
      <dgm:t>
        <a:bodyPr/>
        <a:lstStyle/>
        <a:p>
          <a:r>
            <a:rPr lang="en-ZA" b="0" dirty="0">
              <a:solidFill>
                <a:schemeClr val="tx1"/>
              </a:solidFill>
            </a:rPr>
            <a:t>Manage Immovable Asset Portfolio (Strategic </a:t>
          </a:r>
          <a:r>
            <a:rPr lang="en-US" b="0" dirty="0">
              <a:solidFill>
                <a:schemeClr val="tx1"/>
              </a:solidFill>
            </a:rPr>
            <a:t>Portfolio Supply)</a:t>
          </a:r>
        </a:p>
      </dgm:t>
    </dgm:pt>
    <dgm:pt modelId="{65CFCADE-B126-49FE-93E5-95A98E25A73A}" type="parTrans" cxnId="{0AB86B1E-BD4B-44C9-9891-3893F431CA0D}">
      <dgm:prSet/>
      <dgm:spPr/>
      <dgm:t>
        <a:bodyPr/>
        <a:lstStyle/>
        <a:p>
          <a:endParaRPr lang="en-US" b="1">
            <a:solidFill>
              <a:schemeClr val="tx1"/>
            </a:solidFill>
          </a:endParaRPr>
        </a:p>
      </dgm:t>
    </dgm:pt>
    <dgm:pt modelId="{B3307AB8-2739-4523-B9B0-FFD77925BB40}" type="sibTrans" cxnId="{0AB86B1E-BD4B-44C9-9891-3893F431CA0D}">
      <dgm:prSet/>
      <dgm:spPr/>
      <dgm:t>
        <a:bodyPr/>
        <a:lstStyle/>
        <a:p>
          <a:endParaRPr lang="en-US" b="1">
            <a:solidFill>
              <a:schemeClr val="tx1"/>
            </a:solidFill>
          </a:endParaRPr>
        </a:p>
      </dgm:t>
    </dgm:pt>
    <dgm:pt modelId="{F0CA0E10-7139-48FD-8EB1-D4F68DC4AA7F}">
      <dgm:prSet phldrT="[Text]" custT="1"/>
      <dgm:spPr>
        <a:solidFill>
          <a:srgbClr val="00B050"/>
        </a:solidFill>
      </dgm:spPr>
      <dgm:t>
        <a:bodyPr/>
        <a:lstStyle/>
        <a:p>
          <a:r>
            <a:rPr lang="en-US" sz="1400" b="1" dirty="0">
              <a:solidFill>
                <a:schemeClr val="tx1"/>
              </a:solidFill>
            </a:rPr>
            <a:t>PMIS</a:t>
          </a:r>
        </a:p>
      </dgm:t>
    </dgm:pt>
    <dgm:pt modelId="{05B39971-795A-4714-AA50-D06E27350C61}" type="parTrans" cxnId="{E83D6BFF-9D62-40D8-999C-48A4A990AB0A}">
      <dgm:prSet/>
      <dgm:spPr/>
      <dgm:t>
        <a:bodyPr/>
        <a:lstStyle/>
        <a:p>
          <a:endParaRPr lang="en-US" b="1">
            <a:solidFill>
              <a:schemeClr val="tx1"/>
            </a:solidFill>
          </a:endParaRPr>
        </a:p>
      </dgm:t>
    </dgm:pt>
    <dgm:pt modelId="{B089E659-ADCA-4F3D-9E9C-0E8A293F1B27}" type="sibTrans" cxnId="{E83D6BFF-9D62-40D8-999C-48A4A990AB0A}">
      <dgm:prSet/>
      <dgm:spPr/>
      <dgm:t>
        <a:bodyPr/>
        <a:lstStyle/>
        <a:p>
          <a:endParaRPr lang="en-US" b="1">
            <a:solidFill>
              <a:schemeClr val="tx1"/>
            </a:solidFill>
          </a:endParaRPr>
        </a:p>
      </dgm:t>
    </dgm:pt>
    <dgm:pt modelId="{FBCEEB1D-63C6-4FAA-BAC3-833F14A4CCDC}">
      <dgm:prSet phldrT="[Text]"/>
      <dgm:spPr/>
      <dgm:t>
        <a:bodyPr/>
        <a:lstStyle/>
        <a:p>
          <a:r>
            <a:rPr lang="en-ZA" b="0" dirty="0">
              <a:solidFill>
                <a:schemeClr val="tx1"/>
              </a:solidFill>
            </a:rPr>
            <a:t>Plan Accommodation (Analysis and Pre-Planning)</a:t>
          </a:r>
          <a:endParaRPr lang="en-US" b="0" dirty="0">
            <a:solidFill>
              <a:schemeClr val="tx1"/>
            </a:solidFill>
          </a:endParaRPr>
        </a:p>
      </dgm:t>
    </dgm:pt>
    <dgm:pt modelId="{08789181-01B1-434A-898C-A4D4E2884DF7}" type="parTrans" cxnId="{991408F1-5F5D-4372-9682-B599809060D5}">
      <dgm:prSet/>
      <dgm:spPr/>
      <dgm:t>
        <a:bodyPr/>
        <a:lstStyle/>
        <a:p>
          <a:endParaRPr lang="en-US" b="1">
            <a:solidFill>
              <a:schemeClr val="tx1"/>
            </a:solidFill>
          </a:endParaRPr>
        </a:p>
      </dgm:t>
    </dgm:pt>
    <dgm:pt modelId="{7A6D933C-730A-4CEF-9846-5F567273BACA}" type="sibTrans" cxnId="{991408F1-5F5D-4372-9682-B599809060D5}">
      <dgm:prSet/>
      <dgm:spPr/>
      <dgm:t>
        <a:bodyPr/>
        <a:lstStyle/>
        <a:p>
          <a:endParaRPr lang="en-US" b="1">
            <a:solidFill>
              <a:schemeClr val="tx1"/>
            </a:solidFill>
          </a:endParaRPr>
        </a:p>
      </dgm:t>
    </dgm:pt>
    <dgm:pt modelId="{68DFDE6B-52DE-47BD-9E72-F4E206DFEB7C}">
      <dgm:prSet phldrT="[Text]" custT="1"/>
      <dgm:spPr>
        <a:solidFill>
          <a:srgbClr val="92D050"/>
        </a:solidFill>
      </dgm:spPr>
      <dgm:t>
        <a:bodyPr/>
        <a:lstStyle/>
        <a:p>
          <a:r>
            <a:rPr lang="en-US" sz="1400" b="1" dirty="0">
              <a:solidFill>
                <a:schemeClr val="tx1"/>
              </a:solidFill>
            </a:rPr>
            <a:t>WCS</a:t>
          </a:r>
        </a:p>
      </dgm:t>
    </dgm:pt>
    <dgm:pt modelId="{6C7FA66C-4998-45B7-BE96-5E012E3DE124}" type="parTrans" cxnId="{CEB40DF5-894B-49FB-8AA8-A9759271A17A}">
      <dgm:prSet/>
      <dgm:spPr/>
      <dgm:t>
        <a:bodyPr/>
        <a:lstStyle/>
        <a:p>
          <a:endParaRPr lang="en-US" b="1">
            <a:solidFill>
              <a:schemeClr val="tx1"/>
            </a:solidFill>
          </a:endParaRPr>
        </a:p>
      </dgm:t>
    </dgm:pt>
    <dgm:pt modelId="{BCEA522F-3AE8-48E5-B534-2040FA7D4D1E}" type="sibTrans" cxnId="{CEB40DF5-894B-49FB-8AA8-A9759271A17A}">
      <dgm:prSet/>
      <dgm:spPr/>
      <dgm:t>
        <a:bodyPr/>
        <a:lstStyle/>
        <a:p>
          <a:endParaRPr lang="en-US" b="1">
            <a:solidFill>
              <a:schemeClr val="tx1"/>
            </a:solidFill>
          </a:endParaRPr>
        </a:p>
      </dgm:t>
    </dgm:pt>
    <dgm:pt modelId="{12736EF6-5DC0-4358-86FF-46727421A050}">
      <dgm:prSet phldrT="[Text]" custT="1"/>
      <dgm:spPr/>
      <dgm:t>
        <a:bodyPr/>
        <a:lstStyle/>
        <a:p>
          <a:r>
            <a:rPr lang="en-US" sz="1400" b="1" dirty="0">
              <a:solidFill>
                <a:schemeClr val="tx1"/>
              </a:solidFill>
            </a:rPr>
            <a:t>Project Tracking System</a:t>
          </a:r>
        </a:p>
      </dgm:t>
    </dgm:pt>
    <dgm:pt modelId="{2E13DA09-D6A7-4188-860E-8637AB04002C}" type="parTrans" cxnId="{DB09A70C-A55C-44F6-B69B-9D299F97FFDB}">
      <dgm:prSet/>
      <dgm:spPr/>
      <dgm:t>
        <a:bodyPr/>
        <a:lstStyle/>
        <a:p>
          <a:endParaRPr lang="en-US" b="1">
            <a:solidFill>
              <a:schemeClr val="tx1"/>
            </a:solidFill>
          </a:endParaRPr>
        </a:p>
      </dgm:t>
    </dgm:pt>
    <dgm:pt modelId="{7CCA2339-A626-4C7D-9EE2-B955650093F3}" type="sibTrans" cxnId="{DB09A70C-A55C-44F6-B69B-9D299F97FFDB}">
      <dgm:prSet/>
      <dgm:spPr/>
      <dgm:t>
        <a:bodyPr/>
        <a:lstStyle/>
        <a:p>
          <a:endParaRPr lang="en-US" b="1">
            <a:solidFill>
              <a:schemeClr val="tx1"/>
            </a:solidFill>
          </a:endParaRPr>
        </a:p>
      </dgm:t>
    </dgm:pt>
    <dgm:pt modelId="{5A6E36C6-3005-40AD-AE97-CE60116B5C4D}">
      <dgm:prSet phldrT="[Text]" custT="1"/>
      <dgm:spPr>
        <a:solidFill>
          <a:srgbClr val="92D050"/>
        </a:solidFill>
      </dgm:spPr>
      <dgm:t>
        <a:bodyPr/>
        <a:lstStyle/>
        <a:p>
          <a:r>
            <a:rPr lang="en-US" sz="1400" b="1" dirty="0">
              <a:solidFill>
                <a:schemeClr val="tx1"/>
              </a:solidFill>
            </a:rPr>
            <a:t>WCS</a:t>
          </a:r>
        </a:p>
      </dgm:t>
    </dgm:pt>
    <dgm:pt modelId="{8A3DDADE-111E-4D07-AD83-099166A074E6}" type="parTrans" cxnId="{170DEB32-ECAF-47C1-A38B-78AC1989E417}">
      <dgm:prSet/>
      <dgm:spPr/>
      <dgm:t>
        <a:bodyPr/>
        <a:lstStyle/>
        <a:p>
          <a:endParaRPr lang="en-US" b="1">
            <a:solidFill>
              <a:schemeClr val="tx1"/>
            </a:solidFill>
          </a:endParaRPr>
        </a:p>
      </dgm:t>
    </dgm:pt>
    <dgm:pt modelId="{6CC566A7-D665-474F-9EF9-149501CDD2BD}" type="sibTrans" cxnId="{170DEB32-ECAF-47C1-A38B-78AC1989E417}">
      <dgm:prSet/>
      <dgm:spPr/>
      <dgm:t>
        <a:bodyPr/>
        <a:lstStyle/>
        <a:p>
          <a:endParaRPr lang="en-US" b="1">
            <a:solidFill>
              <a:schemeClr val="tx1"/>
            </a:solidFill>
          </a:endParaRPr>
        </a:p>
      </dgm:t>
    </dgm:pt>
    <dgm:pt modelId="{75F55E61-D897-45D9-B34F-818491FA1351}">
      <dgm:prSet phldrT="[Text]" custT="1"/>
      <dgm:spPr/>
      <dgm:t>
        <a:bodyPr/>
        <a:lstStyle/>
        <a:p>
          <a:r>
            <a:rPr lang="en-US" sz="1400" b="1" dirty="0">
              <a:solidFill>
                <a:schemeClr val="tx1"/>
              </a:solidFill>
            </a:rPr>
            <a:t>Analytical Tool</a:t>
          </a:r>
        </a:p>
      </dgm:t>
    </dgm:pt>
    <dgm:pt modelId="{D02338C0-403C-4518-AF09-03C04F285E3A}" type="parTrans" cxnId="{F23627E9-3228-4B92-9228-9273F372DFFB}">
      <dgm:prSet/>
      <dgm:spPr/>
      <dgm:t>
        <a:bodyPr/>
        <a:lstStyle/>
        <a:p>
          <a:endParaRPr lang="en-US" b="1">
            <a:solidFill>
              <a:schemeClr val="tx1"/>
            </a:solidFill>
          </a:endParaRPr>
        </a:p>
      </dgm:t>
    </dgm:pt>
    <dgm:pt modelId="{8B8AE401-CC5E-4231-9BCA-F48ED9A8B528}" type="sibTrans" cxnId="{F23627E9-3228-4B92-9228-9273F372DFFB}">
      <dgm:prSet/>
      <dgm:spPr/>
      <dgm:t>
        <a:bodyPr/>
        <a:lstStyle/>
        <a:p>
          <a:endParaRPr lang="en-US" b="1">
            <a:solidFill>
              <a:schemeClr val="tx1"/>
            </a:solidFill>
          </a:endParaRPr>
        </a:p>
      </dgm:t>
    </dgm:pt>
    <dgm:pt modelId="{FF47B8D6-D430-4654-9083-93B37C64E20B}">
      <dgm:prSet phldrT="[Text]"/>
      <dgm:spPr/>
      <dgm:t>
        <a:bodyPr/>
        <a:lstStyle/>
        <a:p>
          <a:r>
            <a:rPr lang="en-ZA" b="0" dirty="0">
              <a:solidFill>
                <a:schemeClr val="tx1"/>
              </a:solidFill>
            </a:rPr>
            <a:t>Manage Immovable Asset Register</a:t>
          </a:r>
          <a:endParaRPr lang="en-US" b="0" dirty="0">
            <a:solidFill>
              <a:schemeClr val="tx1"/>
            </a:solidFill>
          </a:endParaRPr>
        </a:p>
      </dgm:t>
    </dgm:pt>
    <dgm:pt modelId="{6CD2A8BA-CDEC-4C07-8D67-E0E04A6868AC}" type="parTrans" cxnId="{AE9D33FE-F125-4804-9D5E-CF48E2992093}">
      <dgm:prSet/>
      <dgm:spPr/>
      <dgm:t>
        <a:bodyPr/>
        <a:lstStyle/>
        <a:p>
          <a:endParaRPr lang="en-US" b="1">
            <a:solidFill>
              <a:schemeClr val="tx1"/>
            </a:solidFill>
          </a:endParaRPr>
        </a:p>
      </dgm:t>
    </dgm:pt>
    <dgm:pt modelId="{7AAEFE14-FD09-49E6-A331-8A25B6F00E3B}" type="sibTrans" cxnId="{AE9D33FE-F125-4804-9D5E-CF48E2992093}">
      <dgm:prSet/>
      <dgm:spPr/>
      <dgm:t>
        <a:bodyPr/>
        <a:lstStyle/>
        <a:p>
          <a:endParaRPr lang="en-US" b="1">
            <a:solidFill>
              <a:schemeClr val="tx1"/>
            </a:solidFill>
          </a:endParaRPr>
        </a:p>
      </dgm:t>
    </dgm:pt>
    <dgm:pt modelId="{D68BFEF9-B931-48EF-A56E-0A062C189959}">
      <dgm:prSet phldrT="[Text]" custT="1"/>
      <dgm:spPr>
        <a:solidFill>
          <a:srgbClr val="92D050"/>
        </a:solidFill>
      </dgm:spPr>
      <dgm:t>
        <a:bodyPr/>
        <a:lstStyle/>
        <a:p>
          <a:r>
            <a:rPr lang="en-US" sz="1400" b="1" dirty="0">
              <a:solidFill>
                <a:schemeClr val="tx1"/>
              </a:solidFill>
            </a:rPr>
            <a:t>WCS</a:t>
          </a:r>
        </a:p>
      </dgm:t>
    </dgm:pt>
    <dgm:pt modelId="{B7C77FDE-9F0E-464B-8AB7-53794D804F04}" type="parTrans" cxnId="{8E3CCA72-72D2-48BD-B87C-3775040FDCC2}">
      <dgm:prSet/>
      <dgm:spPr/>
      <dgm:t>
        <a:bodyPr/>
        <a:lstStyle/>
        <a:p>
          <a:endParaRPr lang="en-US" b="1">
            <a:solidFill>
              <a:schemeClr val="tx1"/>
            </a:solidFill>
          </a:endParaRPr>
        </a:p>
      </dgm:t>
    </dgm:pt>
    <dgm:pt modelId="{3335CCCE-3B87-4C1D-9CA8-01096F542C69}" type="sibTrans" cxnId="{8E3CCA72-72D2-48BD-B87C-3775040FDCC2}">
      <dgm:prSet/>
      <dgm:spPr/>
      <dgm:t>
        <a:bodyPr/>
        <a:lstStyle/>
        <a:p>
          <a:endParaRPr lang="en-US" b="1">
            <a:solidFill>
              <a:schemeClr val="tx1"/>
            </a:solidFill>
          </a:endParaRPr>
        </a:p>
      </dgm:t>
    </dgm:pt>
    <dgm:pt modelId="{3863A4C6-CE4B-4D23-B336-4D1E76F5A7BA}">
      <dgm:prSet phldrT="[Text]" custT="1"/>
      <dgm:spPr>
        <a:solidFill>
          <a:schemeClr val="accent3"/>
        </a:solidFill>
      </dgm:spPr>
      <dgm:t>
        <a:bodyPr/>
        <a:lstStyle/>
        <a:p>
          <a:r>
            <a:rPr lang="en-US" sz="1400" b="1" dirty="0">
              <a:solidFill>
                <a:schemeClr val="tx1"/>
              </a:solidFill>
            </a:rPr>
            <a:t>Archibus</a:t>
          </a:r>
        </a:p>
      </dgm:t>
    </dgm:pt>
    <dgm:pt modelId="{2DB4B0A8-CBD9-4D12-BB43-53196D17AA07}" type="parTrans" cxnId="{E4579910-08E2-4CD9-9B17-0019BFF32478}">
      <dgm:prSet/>
      <dgm:spPr/>
      <dgm:t>
        <a:bodyPr/>
        <a:lstStyle/>
        <a:p>
          <a:endParaRPr lang="en-US" b="1">
            <a:solidFill>
              <a:schemeClr val="tx1"/>
            </a:solidFill>
          </a:endParaRPr>
        </a:p>
      </dgm:t>
    </dgm:pt>
    <dgm:pt modelId="{5D82A9BB-88FA-43FE-9972-BE13826BFFDF}" type="sibTrans" cxnId="{E4579910-08E2-4CD9-9B17-0019BFF32478}">
      <dgm:prSet/>
      <dgm:spPr/>
      <dgm:t>
        <a:bodyPr/>
        <a:lstStyle/>
        <a:p>
          <a:endParaRPr lang="en-US" b="1">
            <a:solidFill>
              <a:schemeClr val="tx1"/>
            </a:solidFill>
          </a:endParaRPr>
        </a:p>
      </dgm:t>
    </dgm:pt>
    <dgm:pt modelId="{D4D76D01-7149-44F8-B40D-C7CB7F077859}">
      <dgm:prSet phldrT="[Text]" custT="1"/>
      <dgm:spPr/>
      <dgm:t>
        <a:bodyPr/>
        <a:lstStyle/>
        <a:p>
          <a:r>
            <a:rPr lang="en-ZA" sz="1400" b="1" dirty="0">
              <a:solidFill>
                <a:schemeClr val="tx1"/>
              </a:solidFill>
            </a:rPr>
            <a:t>SAS</a:t>
          </a:r>
          <a:endParaRPr lang="en-US" sz="1400" b="1" dirty="0">
            <a:solidFill>
              <a:schemeClr val="tx1"/>
            </a:solidFill>
          </a:endParaRPr>
        </a:p>
      </dgm:t>
    </dgm:pt>
    <dgm:pt modelId="{9D608C2E-0D2E-431F-959D-840905FB6F66}" type="parTrans" cxnId="{0350993F-C654-41FF-9180-8A5606B49905}">
      <dgm:prSet/>
      <dgm:spPr/>
      <dgm:t>
        <a:bodyPr/>
        <a:lstStyle/>
        <a:p>
          <a:endParaRPr lang="en-US" b="1">
            <a:solidFill>
              <a:schemeClr val="tx1"/>
            </a:solidFill>
          </a:endParaRPr>
        </a:p>
      </dgm:t>
    </dgm:pt>
    <dgm:pt modelId="{C5AA3B2D-AAA8-4A36-A2E7-8DFB99DBB3AB}" type="sibTrans" cxnId="{0350993F-C654-41FF-9180-8A5606B49905}">
      <dgm:prSet/>
      <dgm:spPr/>
      <dgm:t>
        <a:bodyPr/>
        <a:lstStyle/>
        <a:p>
          <a:endParaRPr lang="en-US" b="1">
            <a:solidFill>
              <a:schemeClr val="tx1"/>
            </a:solidFill>
          </a:endParaRPr>
        </a:p>
      </dgm:t>
    </dgm:pt>
    <dgm:pt modelId="{294EAEE8-2BB0-464E-937A-43D433E5B129}">
      <dgm:prSet phldrT="[Text]" custT="1"/>
      <dgm:spPr>
        <a:solidFill>
          <a:srgbClr val="92D050"/>
        </a:solidFill>
      </dgm:spPr>
      <dgm:t>
        <a:bodyPr/>
        <a:lstStyle/>
        <a:p>
          <a:r>
            <a:rPr lang="en-US" sz="1400" b="1" dirty="0">
              <a:solidFill>
                <a:schemeClr val="tx1"/>
              </a:solidFill>
            </a:rPr>
            <a:t>WCS</a:t>
          </a:r>
        </a:p>
      </dgm:t>
    </dgm:pt>
    <dgm:pt modelId="{DC4F4EE3-DEBB-4178-99C4-D5F179CE3D02}" type="parTrans" cxnId="{401D7C06-D20A-4CD9-A8CF-5BBF6680DB0E}">
      <dgm:prSet/>
      <dgm:spPr/>
      <dgm:t>
        <a:bodyPr/>
        <a:lstStyle/>
        <a:p>
          <a:endParaRPr lang="en-US" b="1">
            <a:solidFill>
              <a:schemeClr val="tx1"/>
            </a:solidFill>
          </a:endParaRPr>
        </a:p>
      </dgm:t>
    </dgm:pt>
    <dgm:pt modelId="{C9B0D527-DB6A-459F-B5AE-3DCB7687D89D}" type="sibTrans" cxnId="{401D7C06-D20A-4CD9-A8CF-5BBF6680DB0E}">
      <dgm:prSet/>
      <dgm:spPr/>
      <dgm:t>
        <a:bodyPr/>
        <a:lstStyle/>
        <a:p>
          <a:endParaRPr lang="en-US" b="1">
            <a:solidFill>
              <a:schemeClr val="tx1"/>
            </a:solidFill>
          </a:endParaRPr>
        </a:p>
      </dgm:t>
    </dgm:pt>
    <dgm:pt modelId="{12C3E609-224B-4C4D-87EA-7BEB19AA374F}">
      <dgm:prSet phldrT="[Text]" custT="1"/>
      <dgm:spPr>
        <a:solidFill>
          <a:srgbClr val="00B050"/>
        </a:solidFill>
      </dgm:spPr>
      <dgm:t>
        <a:bodyPr/>
        <a:lstStyle/>
        <a:p>
          <a:r>
            <a:rPr lang="en-US" sz="1400" b="1" dirty="0">
              <a:solidFill>
                <a:schemeClr val="tx1"/>
              </a:solidFill>
            </a:rPr>
            <a:t>PMIS</a:t>
          </a:r>
        </a:p>
      </dgm:t>
    </dgm:pt>
    <dgm:pt modelId="{A27D622A-C539-43DE-9A97-97C75B1CB885}" type="parTrans" cxnId="{BBD5CF0C-0AFE-441C-8C39-45BDAD3592CD}">
      <dgm:prSet/>
      <dgm:spPr/>
      <dgm:t>
        <a:bodyPr/>
        <a:lstStyle/>
        <a:p>
          <a:endParaRPr lang="en-US" b="1">
            <a:solidFill>
              <a:schemeClr val="tx1"/>
            </a:solidFill>
          </a:endParaRPr>
        </a:p>
      </dgm:t>
    </dgm:pt>
    <dgm:pt modelId="{6C7F37E2-DDEB-438D-858B-DFE612185C7F}" type="sibTrans" cxnId="{BBD5CF0C-0AFE-441C-8C39-45BDAD3592CD}">
      <dgm:prSet/>
      <dgm:spPr/>
      <dgm:t>
        <a:bodyPr/>
        <a:lstStyle/>
        <a:p>
          <a:endParaRPr lang="en-US" b="1">
            <a:solidFill>
              <a:schemeClr val="tx1"/>
            </a:solidFill>
          </a:endParaRPr>
        </a:p>
      </dgm:t>
    </dgm:pt>
    <dgm:pt modelId="{12C89EBB-B984-4DE0-91FC-0124058E5DBE}">
      <dgm:prSet phldrT="[Text]" custT="1"/>
      <dgm:spPr>
        <a:solidFill>
          <a:schemeClr val="accent2"/>
        </a:solidFill>
      </dgm:spPr>
      <dgm:t>
        <a:bodyPr/>
        <a:lstStyle/>
        <a:p>
          <a:r>
            <a:rPr lang="en-US" sz="1400" b="1" dirty="0">
              <a:solidFill>
                <a:schemeClr val="tx1"/>
              </a:solidFill>
            </a:rPr>
            <a:t>EXCEL</a:t>
          </a:r>
        </a:p>
      </dgm:t>
    </dgm:pt>
    <dgm:pt modelId="{B815EA89-E68D-49AA-88A7-BAB472C12682}" type="parTrans" cxnId="{BF0C201C-FE5A-4A3C-9691-A741F684E6A4}">
      <dgm:prSet/>
      <dgm:spPr/>
      <dgm:t>
        <a:bodyPr/>
        <a:lstStyle/>
        <a:p>
          <a:endParaRPr lang="en-US" b="1">
            <a:solidFill>
              <a:schemeClr val="tx1"/>
            </a:solidFill>
          </a:endParaRPr>
        </a:p>
      </dgm:t>
    </dgm:pt>
    <dgm:pt modelId="{DEA73DEB-D6F7-4DE9-921D-298604215AE8}" type="sibTrans" cxnId="{BF0C201C-FE5A-4A3C-9691-A741F684E6A4}">
      <dgm:prSet/>
      <dgm:spPr/>
      <dgm:t>
        <a:bodyPr/>
        <a:lstStyle/>
        <a:p>
          <a:endParaRPr lang="en-US" b="1">
            <a:solidFill>
              <a:schemeClr val="tx1"/>
            </a:solidFill>
          </a:endParaRPr>
        </a:p>
      </dgm:t>
    </dgm:pt>
    <dgm:pt modelId="{AD0611FA-1A5B-4268-B813-69C43B8E2D31}">
      <dgm:prSet phldrT="[Text]" custT="1"/>
      <dgm:spPr/>
      <dgm:t>
        <a:bodyPr/>
        <a:lstStyle/>
        <a:p>
          <a:r>
            <a:rPr lang="en-US" sz="1400" b="1" dirty="0">
              <a:solidFill>
                <a:schemeClr val="tx1"/>
              </a:solidFill>
            </a:rPr>
            <a:t>GIS Syst</a:t>
          </a:r>
          <a:endParaRPr lang="en-US" sz="1400" b="1">
            <a:solidFill>
              <a:schemeClr val="tx1"/>
            </a:solidFill>
          </a:endParaRPr>
        </a:p>
      </dgm:t>
    </dgm:pt>
    <dgm:pt modelId="{BA855BAC-5935-406D-92D9-6D6EDD02D640}" type="parTrans" cxnId="{8ED1C0AD-56D7-4015-8445-010AE5D9927C}">
      <dgm:prSet/>
      <dgm:spPr/>
      <dgm:t>
        <a:bodyPr/>
        <a:lstStyle/>
        <a:p>
          <a:endParaRPr lang="en-US" b="1">
            <a:solidFill>
              <a:schemeClr val="tx1"/>
            </a:solidFill>
          </a:endParaRPr>
        </a:p>
      </dgm:t>
    </dgm:pt>
    <dgm:pt modelId="{DD45B14D-FF2B-45EF-804A-A6323607DBBE}" type="sibTrans" cxnId="{8ED1C0AD-56D7-4015-8445-010AE5D9927C}">
      <dgm:prSet/>
      <dgm:spPr/>
      <dgm:t>
        <a:bodyPr/>
        <a:lstStyle/>
        <a:p>
          <a:endParaRPr lang="en-US" b="1">
            <a:solidFill>
              <a:schemeClr val="tx1"/>
            </a:solidFill>
          </a:endParaRPr>
        </a:p>
      </dgm:t>
    </dgm:pt>
    <dgm:pt modelId="{A39743AD-6BE8-44D1-8821-41582A1A79C2}">
      <dgm:prSet phldrT="[Text]"/>
      <dgm:spPr/>
      <dgm:t>
        <a:bodyPr/>
        <a:lstStyle/>
        <a:p>
          <a:r>
            <a:rPr lang="en-ZA" b="0" dirty="0">
              <a:solidFill>
                <a:schemeClr val="tx1"/>
              </a:solidFill>
            </a:rPr>
            <a:t>Manage Immovable Asset Portfolio(Strategic Portfolio Demand)</a:t>
          </a:r>
          <a:endParaRPr lang="en-US" b="0" dirty="0">
            <a:solidFill>
              <a:schemeClr val="tx1"/>
            </a:solidFill>
          </a:endParaRPr>
        </a:p>
      </dgm:t>
    </dgm:pt>
    <dgm:pt modelId="{E9870521-5715-4694-BCE2-2F044AAE1CBB}" type="parTrans" cxnId="{828C5C14-916E-4514-9696-6388F819AD97}">
      <dgm:prSet/>
      <dgm:spPr/>
      <dgm:t>
        <a:bodyPr/>
        <a:lstStyle/>
        <a:p>
          <a:endParaRPr lang="en-US" b="1">
            <a:solidFill>
              <a:schemeClr val="tx1"/>
            </a:solidFill>
          </a:endParaRPr>
        </a:p>
      </dgm:t>
    </dgm:pt>
    <dgm:pt modelId="{8E17FE3C-F0FA-42D9-9984-F66928952BE2}" type="sibTrans" cxnId="{828C5C14-916E-4514-9696-6388F819AD97}">
      <dgm:prSet/>
      <dgm:spPr/>
      <dgm:t>
        <a:bodyPr/>
        <a:lstStyle/>
        <a:p>
          <a:endParaRPr lang="en-US" b="1">
            <a:solidFill>
              <a:schemeClr val="tx1"/>
            </a:solidFill>
          </a:endParaRPr>
        </a:p>
      </dgm:t>
    </dgm:pt>
    <dgm:pt modelId="{6986BFBA-6FBF-4335-8085-AE0D428BDF00}">
      <dgm:prSet phldrT="[Text]"/>
      <dgm:spPr/>
      <dgm:t>
        <a:bodyPr/>
        <a:lstStyle/>
        <a:p>
          <a:r>
            <a:rPr lang="en-ZA" b="0" dirty="0">
              <a:solidFill>
                <a:schemeClr val="tx1"/>
              </a:solidFill>
            </a:rPr>
            <a:t>Plan Accommodation (</a:t>
          </a:r>
          <a:r>
            <a:rPr lang="en-US" b="0" dirty="0">
              <a:solidFill>
                <a:schemeClr val="tx1"/>
              </a:solidFill>
            </a:rPr>
            <a:t>Implementation Planning)</a:t>
          </a:r>
        </a:p>
      </dgm:t>
    </dgm:pt>
    <dgm:pt modelId="{086DB34C-BEBC-445E-9DA2-48926F3CA5F3}" type="sibTrans" cxnId="{ACA6FCE2-35DD-4E13-A38F-55F7EEA29E85}">
      <dgm:prSet/>
      <dgm:spPr/>
      <dgm:t>
        <a:bodyPr/>
        <a:lstStyle/>
        <a:p>
          <a:endParaRPr lang="en-US" b="1">
            <a:solidFill>
              <a:schemeClr val="tx1"/>
            </a:solidFill>
          </a:endParaRPr>
        </a:p>
      </dgm:t>
    </dgm:pt>
    <dgm:pt modelId="{3B95DE64-F982-4184-8A4A-E62D9B7CE792}" type="parTrans" cxnId="{ACA6FCE2-35DD-4E13-A38F-55F7EEA29E85}">
      <dgm:prSet/>
      <dgm:spPr/>
      <dgm:t>
        <a:bodyPr/>
        <a:lstStyle/>
        <a:p>
          <a:endParaRPr lang="en-US" b="1">
            <a:solidFill>
              <a:schemeClr val="tx1"/>
            </a:solidFill>
          </a:endParaRPr>
        </a:p>
      </dgm:t>
    </dgm:pt>
    <dgm:pt modelId="{61ADA768-60C9-42D6-B6B5-AA8FCE1A89BF}">
      <dgm:prSet phldrT="[Text]" custT="1"/>
      <dgm:spPr>
        <a:solidFill>
          <a:schemeClr val="accent2">
            <a:lumMod val="60000"/>
            <a:lumOff val="40000"/>
          </a:schemeClr>
        </a:solidFill>
      </dgm:spPr>
      <dgm:t>
        <a:bodyPr/>
        <a:lstStyle/>
        <a:p>
          <a:r>
            <a:rPr lang="en-US" sz="1400" b="1" dirty="0">
              <a:solidFill>
                <a:schemeClr val="tx1"/>
              </a:solidFill>
            </a:rPr>
            <a:t>Safety Net</a:t>
          </a:r>
        </a:p>
        <a:p>
          <a:r>
            <a:rPr lang="en-US" sz="1400" b="1" dirty="0">
              <a:solidFill>
                <a:schemeClr val="tx1"/>
              </a:solidFill>
            </a:rPr>
            <a:t>CSD</a:t>
          </a:r>
        </a:p>
      </dgm:t>
    </dgm:pt>
    <dgm:pt modelId="{5DD45638-5E06-48F9-8510-192D846F8D72}" type="sibTrans" cxnId="{F16BFC30-2D8F-4F60-8190-021904D8911F}">
      <dgm:prSet/>
      <dgm:spPr/>
      <dgm:t>
        <a:bodyPr/>
        <a:lstStyle/>
        <a:p>
          <a:endParaRPr lang="en-US" b="1">
            <a:solidFill>
              <a:schemeClr val="tx1"/>
            </a:solidFill>
          </a:endParaRPr>
        </a:p>
      </dgm:t>
    </dgm:pt>
    <dgm:pt modelId="{47D35B6A-EF32-459A-A0D4-A6FC346CA5F9}" type="parTrans" cxnId="{F16BFC30-2D8F-4F60-8190-021904D8911F}">
      <dgm:prSet/>
      <dgm:spPr/>
      <dgm:t>
        <a:bodyPr/>
        <a:lstStyle/>
        <a:p>
          <a:endParaRPr lang="en-US" b="1">
            <a:solidFill>
              <a:schemeClr val="tx1"/>
            </a:solidFill>
          </a:endParaRPr>
        </a:p>
      </dgm:t>
    </dgm:pt>
    <dgm:pt modelId="{25C34C51-DD44-4CF7-9093-8E431A21B64C}" type="pres">
      <dgm:prSet presAssocID="{7CE73B2F-FAFD-4EEE-A9FF-F6D4F373E706}" presName="theList" presStyleCnt="0">
        <dgm:presLayoutVars>
          <dgm:dir/>
          <dgm:animLvl val="lvl"/>
          <dgm:resizeHandles val="exact"/>
        </dgm:presLayoutVars>
      </dgm:prSet>
      <dgm:spPr/>
      <dgm:t>
        <a:bodyPr/>
        <a:lstStyle/>
        <a:p>
          <a:endParaRPr lang="en-ZA"/>
        </a:p>
      </dgm:t>
    </dgm:pt>
    <dgm:pt modelId="{35F7447A-EE8E-4D70-A9BE-8AE10EED301C}" type="pres">
      <dgm:prSet presAssocID="{FF47B8D6-D430-4654-9083-93B37C64E20B}" presName="compNode" presStyleCnt="0"/>
      <dgm:spPr/>
    </dgm:pt>
    <dgm:pt modelId="{FCC41E59-A53C-48A9-A162-6EDCF140B059}" type="pres">
      <dgm:prSet presAssocID="{FF47B8D6-D430-4654-9083-93B37C64E20B}" presName="aNode" presStyleLbl="bgShp" presStyleIdx="0" presStyleCnt="5"/>
      <dgm:spPr/>
      <dgm:t>
        <a:bodyPr/>
        <a:lstStyle/>
        <a:p>
          <a:endParaRPr lang="en-ZA"/>
        </a:p>
      </dgm:t>
    </dgm:pt>
    <dgm:pt modelId="{BD883F54-F504-48CD-A227-A2F86ACBFA12}" type="pres">
      <dgm:prSet presAssocID="{FF47B8D6-D430-4654-9083-93B37C64E20B}" presName="textNode" presStyleLbl="bgShp" presStyleIdx="0" presStyleCnt="5"/>
      <dgm:spPr/>
      <dgm:t>
        <a:bodyPr/>
        <a:lstStyle/>
        <a:p>
          <a:endParaRPr lang="en-ZA"/>
        </a:p>
      </dgm:t>
    </dgm:pt>
    <dgm:pt modelId="{23281DCE-56A4-4420-888E-44D7A9AC7C57}" type="pres">
      <dgm:prSet presAssocID="{FF47B8D6-D430-4654-9083-93B37C64E20B}" presName="compChildNode" presStyleCnt="0"/>
      <dgm:spPr/>
    </dgm:pt>
    <dgm:pt modelId="{4172A96A-131B-4689-BEAF-5B3A2198ED3E}" type="pres">
      <dgm:prSet presAssocID="{FF47B8D6-D430-4654-9083-93B37C64E20B}" presName="theInnerList" presStyleCnt="0"/>
      <dgm:spPr/>
    </dgm:pt>
    <dgm:pt modelId="{A5C85500-5BF5-46B6-9B70-DB130DEEF1DF}" type="pres">
      <dgm:prSet presAssocID="{3863A4C6-CE4B-4D23-B336-4D1E76F5A7BA}" presName="childNode" presStyleLbl="node1" presStyleIdx="0" presStyleCnt="13" custLinFactNeighborX="-2376" custLinFactNeighborY="37790">
        <dgm:presLayoutVars>
          <dgm:bulletEnabled val="1"/>
        </dgm:presLayoutVars>
      </dgm:prSet>
      <dgm:spPr/>
      <dgm:t>
        <a:bodyPr/>
        <a:lstStyle/>
        <a:p>
          <a:endParaRPr lang="en-ZA"/>
        </a:p>
      </dgm:t>
    </dgm:pt>
    <dgm:pt modelId="{B6B6F14A-3049-4397-9FF3-3D252E059B0F}" type="pres">
      <dgm:prSet presAssocID="{3863A4C6-CE4B-4D23-B336-4D1E76F5A7BA}" presName="aSpace2" presStyleCnt="0"/>
      <dgm:spPr/>
    </dgm:pt>
    <dgm:pt modelId="{C491C004-1685-4467-A998-FC6F11DC8B1F}" type="pres">
      <dgm:prSet presAssocID="{D4D76D01-7149-44F8-B40D-C7CB7F077859}" presName="childNode" presStyleLbl="node1" presStyleIdx="1" presStyleCnt="13" custLinFactNeighborX="-2376" custLinFactNeighborY="37790">
        <dgm:presLayoutVars>
          <dgm:bulletEnabled val="1"/>
        </dgm:presLayoutVars>
      </dgm:prSet>
      <dgm:spPr/>
      <dgm:t>
        <a:bodyPr/>
        <a:lstStyle/>
        <a:p>
          <a:endParaRPr lang="en-ZA"/>
        </a:p>
      </dgm:t>
    </dgm:pt>
    <dgm:pt modelId="{07641711-C911-4A43-99F4-E6C4CF0BCF63}" type="pres">
      <dgm:prSet presAssocID="{D4D76D01-7149-44F8-B40D-C7CB7F077859}" presName="aSpace2" presStyleCnt="0"/>
      <dgm:spPr/>
    </dgm:pt>
    <dgm:pt modelId="{FD2D8352-49D9-469E-A230-DADBD117C807}" type="pres">
      <dgm:prSet presAssocID="{294EAEE8-2BB0-464E-937A-43D433E5B129}" presName="childNode" presStyleLbl="node1" presStyleIdx="2" presStyleCnt="13" custLinFactNeighborX="-2376" custLinFactNeighborY="37790">
        <dgm:presLayoutVars>
          <dgm:bulletEnabled val="1"/>
        </dgm:presLayoutVars>
      </dgm:prSet>
      <dgm:spPr/>
      <dgm:t>
        <a:bodyPr/>
        <a:lstStyle/>
        <a:p>
          <a:endParaRPr lang="en-ZA"/>
        </a:p>
      </dgm:t>
    </dgm:pt>
    <dgm:pt modelId="{CE228F9E-1D41-4F69-90E7-735DED476B57}" type="pres">
      <dgm:prSet presAssocID="{294EAEE8-2BB0-464E-937A-43D433E5B129}" presName="aSpace2" presStyleCnt="0"/>
      <dgm:spPr/>
    </dgm:pt>
    <dgm:pt modelId="{7C2A3AFD-33F7-4CD6-BDFE-94031EFA4F34}" type="pres">
      <dgm:prSet presAssocID="{12C3E609-224B-4C4D-87EA-7BEB19AA374F}" presName="childNode" presStyleLbl="node1" presStyleIdx="3" presStyleCnt="13" custLinFactNeighborX="-2376" custLinFactNeighborY="37790">
        <dgm:presLayoutVars>
          <dgm:bulletEnabled val="1"/>
        </dgm:presLayoutVars>
      </dgm:prSet>
      <dgm:spPr/>
      <dgm:t>
        <a:bodyPr/>
        <a:lstStyle/>
        <a:p>
          <a:endParaRPr lang="en-ZA"/>
        </a:p>
      </dgm:t>
    </dgm:pt>
    <dgm:pt modelId="{B11C80BA-2350-49C6-9C58-02F4F51EF544}" type="pres">
      <dgm:prSet presAssocID="{12C3E609-224B-4C4D-87EA-7BEB19AA374F}" presName="aSpace2" presStyleCnt="0"/>
      <dgm:spPr/>
    </dgm:pt>
    <dgm:pt modelId="{722F5B64-A0D5-4F6E-808C-F85C07647CF2}" type="pres">
      <dgm:prSet presAssocID="{12C89EBB-B984-4DE0-91FC-0124058E5DBE}" presName="childNode" presStyleLbl="node1" presStyleIdx="4" presStyleCnt="13" custLinFactNeighborX="-2376" custLinFactNeighborY="37790">
        <dgm:presLayoutVars>
          <dgm:bulletEnabled val="1"/>
        </dgm:presLayoutVars>
      </dgm:prSet>
      <dgm:spPr/>
      <dgm:t>
        <a:bodyPr/>
        <a:lstStyle/>
        <a:p>
          <a:endParaRPr lang="en-ZA"/>
        </a:p>
      </dgm:t>
    </dgm:pt>
    <dgm:pt modelId="{85BB2420-DC25-405B-AECF-B7C4FA636673}" type="pres">
      <dgm:prSet presAssocID="{12C89EBB-B984-4DE0-91FC-0124058E5DBE}" presName="aSpace2" presStyleCnt="0"/>
      <dgm:spPr/>
    </dgm:pt>
    <dgm:pt modelId="{29FE16D1-80CD-4A39-AAAD-CCA2862CB320}" type="pres">
      <dgm:prSet presAssocID="{AD0611FA-1A5B-4268-B813-69C43B8E2D31}" presName="childNode" presStyleLbl="node1" presStyleIdx="5" presStyleCnt="13" custLinFactNeighborX="-2376" custLinFactNeighborY="37790">
        <dgm:presLayoutVars>
          <dgm:bulletEnabled val="1"/>
        </dgm:presLayoutVars>
      </dgm:prSet>
      <dgm:spPr/>
      <dgm:t>
        <a:bodyPr/>
        <a:lstStyle/>
        <a:p>
          <a:endParaRPr lang="en-ZA"/>
        </a:p>
      </dgm:t>
    </dgm:pt>
    <dgm:pt modelId="{E458BA8C-3ABF-43B8-A528-91A5AD6A823C}" type="pres">
      <dgm:prSet presAssocID="{FF47B8D6-D430-4654-9083-93B37C64E20B}" presName="aSpace" presStyleCnt="0"/>
      <dgm:spPr/>
    </dgm:pt>
    <dgm:pt modelId="{F66B8E0B-8CA0-44E1-BBBA-3CD0B86F7AE9}" type="pres">
      <dgm:prSet presAssocID="{A39743AD-6BE8-44D1-8821-41582A1A79C2}" presName="compNode" presStyleCnt="0"/>
      <dgm:spPr/>
    </dgm:pt>
    <dgm:pt modelId="{B8407922-97EB-490D-B881-2678AA595FC6}" type="pres">
      <dgm:prSet presAssocID="{A39743AD-6BE8-44D1-8821-41582A1A79C2}" presName="aNode" presStyleLbl="bgShp" presStyleIdx="1" presStyleCnt="5"/>
      <dgm:spPr/>
      <dgm:t>
        <a:bodyPr/>
        <a:lstStyle/>
        <a:p>
          <a:endParaRPr lang="en-ZA"/>
        </a:p>
      </dgm:t>
    </dgm:pt>
    <dgm:pt modelId="{486F6940-B795-4D37-AED5-9F769E33E504}" type="pres">
      <dgm:prSet presAssocID="{A39743AD-6BE8-44D1-8821-41582A1A79C2}" presName="textNode" presStyleLbl="bgShp" presStyleIdx="1" presStyleCnt="5"/>
      <dgm:spPr/>
      <dgm:t>
        <a:bodyPr/>
        <a:lstStyle/>
        <a:p>
          <a:endParaRPr lang="en-ZA"/>
        </a:p>
      </dgm:t>
    </dgm:pt>
    <dgm:pt modelId="{848B1E5F-D138-4739-8D51-E1AD39C55485}" type="pres">
      <dgm:prSet presAssocID="{A39743AD-6BE8-44D1-8821-41582A1A79C2}" presName="compChildNode" presStyleCnt="0"/>
      <dgm:spPr/>
    </dgm:pt>
    <dgm:pt modelId="{2AE06199-8FB9-4157-9DDD-99DB3AD70777}" type="pres">
      <dgm:prSet presAssocID="{A39743AD-6BE8-44D1-8821-41582A1A79C2}" presName="theInnerList" presStyleCnt="0"/>
      <dgm:spPr/>
    </dgm:pt>
    <dgm:pt modelId="{68BFE3A2-6418-4BA3-94CC-7F9BD0E45243}" type="pres">
      <dgm:prSet presAssocID="{D68BFEF9-B931-48EF-A56E-0A062C189959}" presName="childNode" presStyleLbl="node1" presStyleIdx="6" presStyleCnt="13" custLinFactNeighborX="-2376" custLinFactNeighborY="859">
        <dgm:presLayoutVars>
          <dgm:bulletEnabled val="1"/>
        </dgm:presLayoutVars>
      </dgm:prSet>
      <dgm:spPr/>
      <dgm:t>
        <a:bodyPr/>
        <a:lstStyle/>
        <a:p>
          <a:endParaRPr lang="en-ZA"/>
        </a:p>
      </dgm:t>
    </dgm:pt>
    <dgm:pt modelId="{DFA24516-5F19-4D67-95E0-BB889E409F94}" type="pres">
      <dgm:prSet presAssocID="{A39743AD-6BE8-44D1-8821-41582A1A79C2}" presName="aSpace" presStyleCnt="0"/>
      <dgm:spPr/>
    </dgm:pt>
    <dgm:pt modelId="{BF461080-0B43-456B-BB35-CD839CBB07C7}" type="pres">
      <dgm:prSet presAssocID="{D30C9C82-5F73-4D59-B9B3-E229F741FA6F}" presName="compNode" presStyleCnt="0"/>
      <dgm:spPr/>
    </dgm:pt>
    <dgm:pt modelId="{5B50CB7B-9099-49D3-ABC7-125DCA43CCD9}" type="pres">
      <dgm:prSet presAssocID="{D30C9C82-5F73-4D59-B9B3-E229F741FA6F}" presName="aNode" presStyleLbl="bgShp" presStyleIdx="2" presStyleCnt="5"/>
      <dgm:spPr/>
      <dgm:t>
        <a:bodyPr/>
        <a:lstStyle/>
        <a:p>
          <a:endParaRPr lang="en-ZA"/>
        </a:p>
      </dgm:t>
    </dgm:pt>
    <dgm:pt modelId="{F458E3B3-8840-443F-A49D-0A54B25C98B1}" type="pres">
      <dgm:prSet presAssocID="{D30C9C82-5F73-4D59-B9B3-E229F741FA6F}" presName="textNode" presStyleLbl="bgShp" presStyleIdx="2" presStyleCnt="5"/>
      <dgm:spPr/>
      <dgm:t>
        <a:bodyPr/>
        <a:lstStyle/>
        <a:p>
          <a:endParaRPr lang="en-ZA"/>
        </a:p>
      </dgm:t>
    </dgm:pt>
    <dgm:pt modelId="{72E0329F-54E8-4B50-B239-4C9E64591AD9}" type="pres">
      <dgm:prSet presAssocID="{D30C9C82-5F73-4D59-B9B3-E229F741FA6F}" presName="compChildNode" presStyleCnt="0"/>
      <dgm:spPr/>
    </dgm:pt>
    <dgm:pt modelId="{47CA0823-EB26-4EDA-8963-0AF2F4876C61}" type="pres">
      <dgm:prSet presAssocID="{D30C9C82-5F73-4D59-B9B3-E229F741FA6F}" presName="theInnerList" presStyleCnt="0"/>
      <dgm:spPr/>
    </dgm:pt>
    <dgm:pt modelId="{249765C8-CC0F-4DDC-B32D-FF11D3CE524B}" type="pres">
      <dgm:prSet presAssocID="{F0CA0E10-7139-48FD-8EB1-D4F68DC4AA7F}" presName="childNode" presStyleLbl="node1" presStyleIdx="7" presStyleCnt="13" custLinFactNeighborX="-2376" custLinFactNeighborY="18467">
        <dgm:presLayoutVars>
          <dgm:bulletEnabled val="1"/>
        </dgm:presLayoutVars>
      </dgm:prSet>
      <dgm:spPr/>
      <dgm:t>
        <a:bodyPr/>
        <a:lstStyle/>
        <a:p>
          <a:endParaRPr lang="en-ZA"/>
        </a:p>
      </dgm:t>
    </dgm:pt>
    <dgm:pt modelId="{1C4825AD-256E-43BF-BEF9-67A4C889447C}" type="pres">
      <dgm:prSet presAssocID="{F0CA0E10-7139-48FD-8EB1-D4F68DC4AA7F}" presName="aSpace2" presStyleCnt="0"/>
      <dgm:spPr/>
    </dgm:pt>
    <dgm:pt modelId="{64E5D62F-362B-4E15-BD2F-198501141F49}" type="pres">
      <dgm:prSet presAssocID="{68DFDE6B-52DE-47BD-9E72-F4E206DFEB7C}" presName="childNode" presStyleLbl="node1" presStyleIdx="8" presStyleCnt="13" custLinFactNeighborX="-2376" custLinFactNeighborY="18467">
        <dgm:presLayoutVars>
          <dgm:bulletEnabled val="1"/>
        </dgm:presLayoutVars>
      </dgm:prSet>
      <dgm:spPr/>
      <dgm:t>
        <a:bodyPr/>
        <a:lstStyle/>
        <a:p>
          <a:endParaRPr lang="en-ZA"/>
        </a:p>
      </dgm:t>
    </dgm:pt>
    <dgm:pt modelId="{A8DC43E9-7C70-41E0-B3D8-EE21AC025D6D}" type="pres">
      <dgm:prSet presAssocID="{68DFDE6B-52DE-47BD-9E72-F4E206DFEB7C}" presName="aSpace2" presStyleCnt="0"/>
      <dgm:spPr/>
    </dgm:pt>
    <dgm:pt modelId="{CEA03727-20F1-4D99-BB88-980E00EDC165}" type="pres">
      <dgm:prSet presAssocID="{75F55E61-D897-45D9-B34F-818491FA1351}" presName="childNode" presStyleLbl="node1" presStyleIdx="9" presStyleCnt="13" custLinFactNeighborX="-2376" custLinFactNeighborY="18467">
        <dgm:presLayoutVars>
          <dgm:bulletEnabled val="1"/>
        </dgm:presLayoutVars>
      </dgm:prSet>
      <dgm:spPr/>
      <dgm:t>
        <a:bodyPr/>
        <a:lstStyle/>
        <a:p>
          <a:endParaRPr lang="en-ZA"/>
        </a:p>
      </dgm:t>
    </dgm:pt>
    <dgm:pt modelId="{98806541-8234-4259-847B-255E081C0451}" type="pres">
      <dgm:prSet presAssocID="{D30C9C82-5F73-4D59-B9B3-E229F741FA6F}" presName="aSpace" presStyleCnt="0"/>
      <dgm:spPr/>
    </dgm:pt>
    <dgm:pt modelId="{1F95F1F7-8C83-4833-AEAF-8C3CA2FD0DB8}" type="pres">
      <dgm:prSet presAssocID="{FBCEEB1D-63C6-4FAA-BAC3-833F14A4CCDC}" presName="compNode" presStyleCnt="0"/>
      <dgm:spPr/>
    </dgm:pt>
    <dgm:pt modelId="{F31C0175-B334-48E0-B193-5D4833238F99}" type="pres">
      <dgm:prSet presAssocID="{FBCEEB1D-63C6-4FAA-BAC3-833F14A4CCDC}" presName="aNode" presStyleLbl="bgShp" presStyleIdx="3" presStyleCnt="5"/>
      <dgm:spPr/>
      <dgm:t>
        <a:bodyPr/>
        <a:lstStyle/>
        <a:p>
          <a:endParaRPr lang="en-ZA"/>
        </a:p>
      </dgm:t>
    </dgm:pt>
    <dgm:pt modelId="{D0AE3645-E9EB-43CE-83B8-4FBEE13096C3}" type="pres">
      <dgm:prSet presAssocID="{FBCEEB1D-63C6-4FAA-BAC3-833F14A4CCDC}" presName="textNode" presStyleLbl="bgShp" presStyleIdx="3" presStyleCnt="5"/>
      <dgm:spPr/>
      <dgm:t>
        <a:bodyPr/>
        <a:lstStyle/>
        <a:p>
          <a:endParaRPr lang="en-ZA"/>
        </a:p>
      </dgm:t>
    </dgm:pt>
    <dgm:pt modelId="{3E0B489D-CF58-439E-80DD-0E8CB5DB4F89}" type="pres">
      <dgm:prSet presAssocID="{FBCEEB1D-63C6-4FAA-BAC3-833F14A4CCDC}" presName="compChildNode" presStyleCnt="0"/>
      <dgm:spPr/>
    </dgm:pt>
    <dgm:pt modelId="{6677E5D1-61E1-45C2-9C17-7A593A4B826E}" type="pres">
      <dgm:prSet presAssocID="{FBCEEB1D-63C6-4FAA-BAC3-833F14A4CCDC}" presName="theInnerList" presStyleCnt="0"/>
      <dgm:spPr/>
    </dgm:pt>
    <dgm:pt modelId="{229308E9-8BF8-41DE-9656-7A81547D4275}" type="pres">
      <dgm:prSet presAssocID="{12736EF6-5DC0-4358-86FF-46727421A050}" presName="childNode" presStyleLbl="node1" presStyleIdx="10" presStyleCnt="13">
        <dgm:presLayoutVars>
          <dgm:bulletEnabled val="1"/>
        </dgm:presLayoutVars>
      </dgm:prSet>
      <dgm:spPr/>
      <dgm:t>
        <a:bodyPr/>
        <a:lstStyle/>
        <a:p>
          <a:endParaRPr lang="en-ZA"/>
        </a:p>
      </dgm:t>
    </dgm:pt>
    <dgm:pt modelId="{459756A6-D50B-456E-8ED1-3E868EF153FB}" type="pres">
      <dgm:prSet presAssocID="{12736EF6-5DC0-4358-86FF-46727421A050}" presName="aSpace2" presStyleCnt="0"/>
      <dgm:spPr/>
    </dgm:pt>
    <dgm:pt modelId="{38356073-02B5-4D70-A6DA-4413D8FC24C0}" type="pres">
      <dgm:prSet presAssocID="{61ADA768-60C9-42D6-B6B5-AA8FCE1A89BF}" presName="childNode" presStyleLbl="node1" presStyleIdx="11" presStyleCnt="13">
        <dgm:presLayoutVars>
          <dgm:bulletEnabled val="1"/>
        </dgm:presLayoutVars>
      </dgm:prSet>
      <dgm:spPr/>
      <dgm:t>
        <a:bodyPr/>
        <a:lstStyle/>
        <a:p>
          <a:endParaRPr lang="en-ZA"/>
        </a:p>
      </dgm:t>
    </dgm:pt>
    <dgm:pt modelId="{2D299612-6FC8-46A9-84C2-376A917F0DA7}" type="pres">
      <dgm:prSet presAssocID="{FBCEEB1D-63C6-4FAA-BAC3-833F14A4CCDC}" presName="aSpace" presStyleCnt="0"/>
      <dgm:spPr/>
    </dgm:pt>
    <dgm:pt modelId="{274D7C75-EB53-4F30-B718-F289C57BE41E}" type="pres">
      <dgm:prSet presAssocID="{6986BFBA-6FBF-4335-8085-AE0D428BDF00}" presName="compNode" presStyleCnt="0"/>
      <dgm:spPr/>
    </dgm:pt>
    <dgm:pt modelId="{93666F92-EC83-44F8-86E0-F84AB2A333E8}" type="pres">
      <dgm:prSet presAssocID="{6986BFBA-6FBF-4335-8085-AE0D428BDF00}" presName="aNode" presStyleLbl="bgShp" presStyleIdx="4" presStyleCnt="5"/>
      <dgm:spPr/>
      <dgm:t>
        <a:bodyPr/>
        <a:lstStyle/>
        <a:p>
          <a:endParaRPr lang="en-ZA"/>
        </a:p>
      </dgm:t>
    </dgm:pt>
    <dgm:pt modelId="{CE86D1D0-47B5-4A49-80D5-1C3F5590A201}" type="pres">
      <dgm:prSet presAssocID="{6986BFBA-6FBF-4335-8085-AE0D428BDF00}" presName="textNode" presStyleLbl="bgShp" presStyleIdx="4" presStyleCnt="5"/>
      <dgm:spPr/>
      <dgm:t>
        <a:bodyPr/>
        <a:lstStyle/>
        <a:p>
          <a:endParaRPr lang="en-ZA"/>
        </a:p>
      </dgm:t>
    </dgm:pt>
    <dgm:pt modelId="{D108C17A-632E-45BE-9BFB-B2115C7A8017}" type="pres">
      <dgm:prSet presAssocID="{6986BFBA-6FBF-4335-8085-AE0D428BDF00}" presName="compChildNode" presStyleCnt="0"/>
      <dgm:spPr/>
    </dgm:pt>
    <dgm:pt modelId="{4D181405-9CC2-472C-8B5A-12EF10B82509}" type="pres">
      <dgm:prSet presAssocID="{6986BFBA-6FBF-4335-8085-AE0D428BDF00}" presName="theInnerList" presStyleCnt="0"/>
      <dgm:spPr/>
    </dgm:pt>
    <dgm:pt modelId="{0E44B6FF-F35F-4BF9-B45F-D8702D26C268}" type="pres">
      <dgm:prSet presAssocID="{5A6E36C6-3005-40AD-AE97-CE60116B5C4D}" presName="childNode" presStyleLbl="node1" presStyleIdx="12" presStyleCnt="13">
        <dgm:presLayoutVars>
          <dgm:bulletEnabled val="1"/>
        </dgm:presLayoutVars>
      </dgm:prSet>
      <dgm:spPr/>
      <dgm:t>
        <a:bodyPr/>
        <a:lstStyle/>
        <a:p>
          <a:endParaRPr lang="en-ZA"/>
        </a:p>
      </dgm:t>
    </dgm:pt>
  </dgm:ptLst>
  <dgm:cxnLst>
    <dgm:cxn modelId="{991408F1-5F5D-4372-9682-B599809060D5}" srcId="{7CE73B2F-FAFD-4EEE-A9FF-F6D4F373E706}" destId="{FBCEEB1D-63C6-4FAA-BAC3-833F14A4CCDC}" srcOrd="3" destOrd="0" parTransId="{08789181-01B1-434A-898C-A4D4E2884DF7}" sibTransId="{7A6D933C-730A-4CEF-9846-5F567273BACA}"/>
    <dgm:cxn modelId="{89DA853D-9A92-433B-93B0-61C7A297EAD2}" type="presOf" srcId="{D30C9C82-5F73-4D59-B9B3-E229F741FA6F}" destId="{5B50CB7B-9099-49D3-ABC7-125DCA43CCD9}" srcOrd="0" destOrd="0" presId="urn:microsoft.com/office/officeart/2005/8/layout/lProcess2"/>
    <dgm:cxn modelId="{0F2EA6FF-F243-4B56-8163-2D5AF91A1A92}" type="presOf" srcId="{294EAEE8-2BB0-464E-937A-43D433E5B129}" destId="{FD2D8352-49D9-469E-A230-DADBD117C807}" srcOrd="0" destOrd="0" presId="urn:microsoft.com/office/officeart/2005/8/layout/lProcess2"/>
    <dgm:cxn modelId="{1C3D9C49-0973-494A-876A-BC84993B9B18}" type="presOf" srcId="{12C3E609-224B-4C4D-87EA-7BEB19AA374F}" destId="{7C2A3AFD-33F7-4CD6-BDFE-94031EFA4F34}" srcOrd="0" destOrd="0" presId="urn:microsoft.com/office/officeart/2005/8/layout/lProcess2"/>
    <dgm:cxn modelId="{DB09A70C-A55C-44F6-B69B-9D299F97FFDB}" srcId="{FBCEEB1D-63C6-4FAA-BAC3-833F14A4CCDC}" destId="{12736EF6-5DC0-4358-86FF-46727421A050}" srcOrd="0" destOrd="0" parTransId="{2E13DA09-D6A7-4188-860E-8637AB04002C}" sibTransId="{7CCA2339-A626-4C7D-9EE2-B955650093F3}"/>
    <dgm:cxn modelId="{135C7F4E-B4CB-4716-82B9-8F5C5CD23152}" type="presOf" srcId="{F0CA0E10-7139-48FD-8EB1-D4F68DC4AA7F}" destId="{249765C8-CC0F-4DDC-B32D-FF11D3CE524B}" srcOrd="0" destOrd="0" presId="urn:microsoft.com/office/officeart/2005/8/layout/lProcess2"/>
    <dgm:cxn modelId="{401D7C06-D20A-4CD9-A8CF-5BBF6680DB0E}" srcId="{FF47B8D6-D430-4654-9083-93B37C64E20B}" destId="{294EAEE8-2BB0-464E-937A-43D433E5B129}" srcOrd="2" destOrd="0" parTransId="{DC4F4EE3-DEBB-4178-99C4-D5F179CE3D02}" sibTransId="{C9B0D527-DB6A-459F-B5AE-3DCB7687D89D}"/>
    <dgm:cxn modelId="{A1885D26-9693-47B2-97AC-404E5B3D97B1}" type="presOf" srcId="{12736EF6-5DC0-4358-86FF-46727421A050}" destId="{229308E9-8BF8-41DE-9656-7A81547D4275}" srcOrd="0" destOrd="0" presId="urn:microsoft.com/office/officeart/2005/8/layout/lProcess2"/>
    <dgm:cxn modelId="{E2CB1810-18CB-4715-AD73-2810D7BF90ED}" type="presOf" srcId="{75F55E61-D897-45D9-B34F-818491FA1351}" destId="{CEA03727-20F1-4D99-BB88-980E00EDC165}" srcOrd="0" destOrd="0" presId="urn:microsoft.com/office/officeart/2005/8/layout/lProcess2"/>
    <dgm:cxn modelId="{BF0C201C-FE5A-4A3C-9691-A741F684E6A4}" srcId="{FF47B8D6-D430-4654-9083-93B37C64E20B}" destId="{12C89EBB-B984-4DE0-91FC-0124058E5DBE}" srcOrd="4" destOrd="0" parTransId="{B815EA89-E68D-49AA-88A7-BAB472C12682}" sibTransId="{DEA73DEB-D6F7-4DE9-921D-298604215AE8}"/>
    <dgm:cxn modelId="{D8ABA966-C91D-442F-8D70-8E31A3B47BD5}" type="presOf" srcId="{61ADA768-60C9-42D6-B6B5-AA8FCE1A89BF}" destId="{38356073-02B5-4D70-A6DA-4413D8FC24C0}" srcOrd="0" destOrd="0" presId="urn:microsoft.com/office/officeart/2005/8/layout/lProcess2"/>
    <dgm:cxn modelId="{AE9D33FE-F125-4804-9D5E-CF48E2992093}" srcId="{7CE73B2F-FAFD-4EEE-A9FF-F6D4F373E706}" destId="{FF47B8D6-D430-4654-9083-93B37C64E20B}" srcOrd="0" destOrd="0" parTransId="{6CD2A8BA-CDEC-4C07-8D67-E0E04A6868AC}" sibTransId="{7AAEFE14-FD09-49E6-A331-8A25B6F00E3B}"/>
    <dgm:cxn modelId="{F23627E9-3228-4B92-9228-9273F372DFFB}" srcId="{D30C9C82-5F73-4D59-B9B3-E229F741FA6F}" destId="{75F55E61-D897-45D9-B34F-818491FA1351}" srcOrd="2" destOrd="0" parTransId="{D02338C0-403C-4518-AF09-03C04F285E3A}" sibTransId="{8B8AE401-CC5E-4231-9BCA-F48ED9A8B528}"/>
    <dgm:cxn modelId="{E4579910-08E2-4CD9-9B17-0019BFF32478}" srcId="{FF47B8D6-D430-4654-9083-93B37C64E20B}" destId="{3863A4C6-CE4B-4D23-B336-4D1E76F5A7BA}" srcOrd="0" destOrd="0" parTransId="{2DB4B0A8-CBD9-4D12-BB43-53196D17AA07}" sibTransId="{5D82A9BB-88FA-43FE-9972-BE13826BFFDF}"/>
    <dgm:cxn modelId="{F02B3779-6F49-4E7F-9748-334ECBADF3CA}" type="presOf" srcId="{5A6E36C6-3005-40AD-AE97-CE60116B5C4D}" destId="{0E44B6FF-F35F-4BF9-B45F-D8702D26C268}" srcOrd="0" destOrd="0" presId="urn:microsoft.com/office/officeart/2005/8/layout/lProcess2"/>
    <dgm:cxn modelId="{B9DBA505-44AD-4971-8717-D0FFF5FDA105}" type="presOf" srcId="{6986BFBA-6FBF-4335-8085-AE0D428BDF00}" destId="{93666F92-EC83-44F8-86E0-F84AB2A333E8}" srcOrd="0" destOrd="0" presId="urn:microsoft.com/office/officeart/2005/8/layout/lProcess2"/>
    <dgm:cxn modelId="{6B953289-8757-406D-80F0-FEDAFF96A719}" type="presOf" srcId="{6986BFBA-6FBF-4335-8085-AE0D428BDF00}" destId="{CE86D1D0-47B5-4A49-80D5-1C3F5590A201}" srcOrd="1" destOrd="0" presId="urn:microsoft.com/office/officeart/2005/8/layout/lProcess2"/>
    <dgm:cxn modelId="{86EB1555-615A-4836-8795-101738C144B7}" type="presOf" srcId="{AD0611FA-1A5B-4268-B813-69C43B8E2D31}" destId="{29FE16D1-80CD-4A39-AAAD-CCA2862CB320}" srcOrd="0" destOrd="0" presId="urn:microsoft.com/office/officeart/2005/8/layout/lProcess2"/>
    <dgm:cxn modelId="{A82FFF28-1DA1-44B1-AE9F-F3EEAB96038F}" type="presOf" srcId="{FF47B8D6-D430-4654-9083-93B37C64E20B}" destId="{BD883F54-F504-48CD-A227-A2F86ACBFA12}" srcOrd="1" destOrd="0" presId="urn:microsoft.com/office/officeart/2005/8/layout/lProcess2"/>
    <dgm:cxn modelId="{F8EB76CA-3384-4271-9D30-2D705DE12199}" type="presOf" srcId="{D68BFEF9-B931-48EF-A56E-0A062C189959}" destId="{68BFE3A2-6418-4BA3-94CC-7F9BD0E45243}" srcOrd="0" destOrd="0" presId="urn:microsoft.com/office/officeart/2005/8/layout/lProcess2"/>
    <dgm:cxn modelId="{3738C4AE-CE29-4387-BA61-2C96151AA980}" type="presOf" srcId="{A39743AD-6BE8-44D1-8821-41582A1A79C2}" destId="{486F6940-B795-4D37-AED5-9F769E33E504}" srcOrd="1" destOrd="0" presId="urn:microsoft.com/office/officeart/2005/8/layout/lProcess2"/>
    <dgm:cxn modelId="{ACA6FCE2-35DD-4E13-A38F-55F7EEA29E85}" srcId="{7CE73B2F-FAFD-4EEE-A9FF-F6D4F373E706}" destId="{6986BFBA-6FBF-4335-8085-AE0D428BDF00}" srcOrd="4" destOrd="0" parTransId="{3B95DE64-F982-4184-8A4A-E62D9B7CE792}" sibTransId="{086DB34C-BEBC-445E-9DA2-48926F3CA5F3}"/>
    <dgm:cxn modelId="{E83D6BFF-9D62-40D8-999C-48A4A990AB0A}" srcId="{D30C9C82-5F73-4D59-B9B3-E229F741FA6F}" destId="{F0CA0E10-7139-48FD-8EB1-D4F68DC4AA7F}" srcOrd="0" destOrd="0" parTransId="{05B39971-795A-4714-AA50-D06E27350C61}" sibTransId="{B089E659-ADCA-4F3D-9E9C-0E8A293F1B27}"/>
    <dgm:cxn modelId="{BBBCFE35-8259-4077-B6B4-91F0BC6D9F0E}" type="presOf" srcId="{3863A4C6-CE4B-4D23-B336-4D1E76F5A7BA}" destId="{A5C85500-5BF5-46B6-9B70-DB130DEEF1DF}" srcOrd="0" destOrd="0" presId="urn:microsoft.com/office/officeart/2005/8/layout/lProcess2"/>
    <dgm:cxn modelId="{F16BFC30-2D8F-4F60-8190-021904D8911F}" srcId="{FBCEEB1D-63C6-4FAA-BAC3-833F14A4CCDC}" destId="{61ADA768-60C9-42D6-B6B5-AA8FCE1A89BF}" srcOrd="1" destOrd="0" parTransId="{47D35B6A-EF32-459A-A0D4-A6FC346CA5F9}" sibTransId="{5DD45638-5E06-48F9-8510-192D846F8D72}"/>
    <dgm:cxn modelId="{170DEB32-ECAF-47C1-A38B-78AC1989E417}" srcId="{6986BFBA-6FBF-4335-8085-AE0D428BDF00}" destId="{5A6E36C6-3005-40AD-AE97-CE60116B5C4D}" srcOrd="0" destOrd="0" parTransId="{8A3DDADE-111E-4D07-AD83-099166A074E6}" sibTransId="{6CC566A7-D665-474F-9EF9-149501CDD2BD}"/>
    <dgm:cxn modelId="{8AF45F60-318B-4DF0-9918-3E03A1D44CE0}" type="presOf" srcId="{D4D76D01-7149-44F8-B40D-C7CB7F077859}" destId="{C491C004-1685-4467-A998-FC6F11DC8B1F}" srcOrd="0" destOrd="0" presId="urn:microsoft.com/office/officeart/2005/8/layout/lProcess2"/>
    <dgm:cxn modelId="{DDD41B6F-6F3E-4D81-96E3-DA7FA722285F}" type="presOf" srcId="{12C89EBB-B984-4DE0-91FC-0124058E5DBE}" destId="{722F5B64-A0D5-4F6E-808C-F85C07647CF2}" srcOrd="0" destOrd="0" presId="urn:microsoft.com/office/officeart/2005/8/layout/lProcess2"/>
    <dgm:cxn modelId="{CEB40DF5-894B-49FB-8AA8-A9759271A17A}" srcId="{D30C9C82-5F73-4D59-B9B3-E229F741FA6F}" destId="{68DFDE6B-52DE-47BD-9E72-F4E206DFEB7C}" srcOrd="1" destOrd="0" parTransId="{6C7FA66C-4998-45B7-BE96-5E012E3DE124}" sibTransId="{BCEA522F-3AE8-48E5-B534-2040FA7D4D1E}"/>
    <dgm:cxn modelId="{410B4616-514E-4B54-9B3F-3626CD8D34C9}" type="presOf" srcId="{FF47B8D6-D430-4654-9083-93B37C64E20B}" destId="{FCC41E59-A53C-48A9-A162-6EDCF140B059}" srcOrd="0" destOrd="0" presId="urn:microsoft.com/office/officeart/2005/8/layout/lProcess2"/>
    <dgm:cxn modelId="{0350993F-C654-41FF-9180-8A5606B49905}" srcId="{FF47B8D6-D430-4654-9083-93B37C64E20B}" destId="{D4D76D01-7149-44F8-B40D-C7CB7F077859}" srcOrd="1" destOrd="0" parTransId="{9D608C2E-0D2E-431F-959D-840905FB6F66}" sibTransId="{C5AA3B2D-AAA8-4A36-A2E7-8DFB99DBB3AB}"/>
    <dgm:cxn modelId="{BBD5CF0C-0AFE-441C-8C39-45BDAD3592CD}" srcId="{FF47B8D6-D430-4654-9083-93B37C64E20B}" destId="{12C3E609-224B-4C4D-87EA-7BEB19AA374F}" srcOrd="3" destOrd="0" parTransId="{A27D622A-C539-43DE-9A97-97C75B1CB885}" sibTransId="{6C7F37E2-DDEB-438D-858B-DFE612185C7F}"/>
    <dgm:cxn modelId="{9699A065-F803-4E14-9C0A-CADF3D33A4C5}" type="presOf" srcId="{7CE73B2F-FAFD-4EEE-A9FF-F6D4F373E706}" destId="{25C34C51-DD44-4CF7-9093-8E431A21B64C}" srcOrd="0" destOrd="0" presId="urn:microsoft.com/office/officeart/2005/8/layout/lProcess2"/>
    <dgm:cxn modelId="{828C5C14-916E-4514-9696-6388F819AD97}" srcId="{7CE73B2F-FAFD-4EEE-A9FF-F6D4F373E706}" destId="{A39743AD-6BE8-44D1-8821-41582A1A79C2}" srcOrd="1" destOrd="0" parTransId="{E9870521-5715-4694-BCE2-2F044AAE1CBB}" sibTransId="{8E17FE3C-F0FA-42D9-9984-F66928952BE2}"/>
    <dgm:cxn modelId="{BBED98DC-6851-4AED-86FA-6F29BEB40ECB}" type="presOf" srcId="{D30C9C82-5F73-4D59-B9B3-E229F741FA6F}" destId="{F458E3B3-8840-443F-A49D-0A54B25C98B1}" srcOrd="1" destOrd="0" presId="urn:microsoft.com/office/officeart/2005/8/layout/lProcess2"/>
    <dgm:cxn modelId="{0AB86B1E-BD4B-44C9-9891-3893F431CA0D}" srcId="{7CE73B2F-FAFD-4EEE-A9FF-F6D4F373E706}" destId="{D30C9C82-5F73-4D59-B9B3-E229F741FA6F}" srcOrd="2" destOrd="0" parTransId="{65CFCADE-B126-49FE-93E5-95A98E25A73A}" sibTransId="{B3307AB8-2739-4523-B9B0-FFD77925BB40}"/>
    <dgm:cxn modelId="{9B795637-0E3E-4809-B857-45C47646E216}" type="presOf" srcId="{FBCEEB1D-63C6-4FAA-BAC3-833F14A4CCDC}" destId="{D0AE3645-E9EB-43CE-83B8-4FBEE13096C3}" srcOrd="1" destOrd="0" presId="urn:microsoft.com/office/officeart/2005/8/layout/lProcess2"/>
    <dgm:cxn modelId="{CEBBADF9-446F-44F2-B65C-4F32C47FB89A}" type="presOf" srcId="{A39743AD-6BE8-44D1-8821-41582A1A79C2}" destId="{B8407922-97EB-490D-B881-2678AA595FC6}" srcOrd="0" destOrd="0" presId="urn:microsoft.com/office/officeart/2005/8/layout/lProcess2"/>
    <dgm:cxn modelId="{86B8D479-F763-458A-918B-3EEA493BD904}" type="presOf" srcId="{68DFDE6B-52DE-47BD-9E72-F4E206DFEB7C}" destId="{64E5D62F-362B-4E15-BD2F-198501141F49}" srcOrd="0" destOrd="0" presId="urn:microsoft.com/office/officeart/2005/8/layout/lProcess2"/>
    <dgm:cxn modelId="{8E3CCA72-72D2-48BD-B87C-3775040FDCC2}" srcId="{A39743AD-6BE8-44D1-8821-41582A1A79C2}" destId="{D68BFEF9-B931-48EF-A56E-0A062C189959}" srcOrd="0" destOrd="0" parTransId="{B7C77FDE-9F0E-464B-8AB7-53794D804F04}" sibTransId="{3335CCCE-3B87-4C1D-9CA8-01096F542C69}"/>
    <dgm:cxn modelId="{8ED1C0AD-56D7-4015-8445-010AE5D9927C}" srcId="{FF47B8D6-D430-4654-9083-93B37C64E20B}" destId="{AD0611FA-1A5B-4268-B813-69C43B8E2D31}" srcOrd="5" destOrd="0" parTransId="{BA855BAC-5935-406D-92D9-6D6EDD02D640}" sibTransId="{DD45B14D-FF2B-45EF-804A-A6323607DBBE}"/>
    <dgm:cxn modelId="{BB68A4E8-DF42-4E72-8D8F-3F37A65732BF}" type="presOf" srcId="{FBCEEB1D-63C6-4FAA-BAC3-833F14A4CCDC}" destId="{F31C0175-B334-48E0-B193-5D4833238F99}" srcOrd="0" destOrd="0" presId="urn:microsoft.com/office/officeart/2005/8/layout/lProcess2"/>
    <dgm:cxn modelId="{40D0C3C5-9AF0-4BF4-A5BC-EBB763986909}" type="presParOf" srcId="{25C34C51-DD44-4CF7-9093-8E431A21B64C}" destId="{35F7447A-EE8E-4D70-A9BE-8AE10EED301C}" srcOrd="0" destOrd="0" presId="urn:microsoft.com/office/officeart/2005/8/layout/lProcess2"/>
    <dgm:cxn modelId="{AC0556F1-E542-490B-A86B-2CC6BAF631C2}" type="presParOf" srcId="{35F7447A-EE8E-4D70-A9BE-8AE10EED301C}" destId="{FCC41E59-A53C-48A9-A162-6EDCF140B059}" srcOrd="0" destOrd="0" presId="urn:microsoft.com/office/officeart/2005/8/layout/lProcess2"/>
    <dgm:cxn modelId="{7EC92D1E-6E07-4A78-A52B-0991CE1F4F6B}" type="presParOf" srcId="{35F7447A-EE8E-4D70-A9BE-8AE10EED301C}" destId="{BD883F54-F504-48CD-A227-A2F86ACBFA12}" srcOrd="1" destOrd="0" presId="urn:microsoft.com/office/officeart/2005/8/layout/lProcess2"/>
    <dgm:cxn modelId="{379EC564-53B8-4266-A52D-820DB2196784}" type="presParOf" srcId="{35F7447A-EE8E-4D70-A9BE-8AE10EED301C}" destId="{23281DCE-56A4-4420-888E-44D7A9AC7C57}" srcOrd="2" destOrd="0" presId="urn:microsoft.com/office/officeart/2005/8/layout/lProcess2"/>
    <dgm:cxn modelId="{5792F66E-57CC-4A14-B12F-2D83EBDB0584}" type="presParOf" srcId="{23281DCE-56A4-4420-888E-44D7A9AC7C57}" destId="{4172A96A-131B-4689-BEAF-5B3A2198ED3E}" srcOrd="0" destOrd="0" presId="urn:microsoft.com/office/officeart/2005/8/layout/lProcess2"/>
    <dgm:cxn modelId="{9F636543-FA54-4074-BDDD-0B98A3262E14}" type="presParOf" srcId="{4172A96A-131B-4689-BEAF-5B3A2198ED3E}" destId="{A5C85500-5BF5-46B6-9B70-DB130DEEF1DF}" srcOrd="0" destOrd="0" presId="urn:microsoft.com/office/officeart/2005/8/layout/lProcess2"/>
    <dgm:cxn modelId="{B95607E9-2101-43F1-B50F-F63581294981}" type="presParOf" srcId="{4172A96A-131B-4689-BEAF-5B3A2198ED3E}" destId="{B6B6F14A-3049-4397-9FF3-3D252E059B0F}" srcOrd="1" destOrd="0" presId="urn:microsoft.com/office/officeart/2005/8/layout/lProcess2"/>
    <dgm:cxn modelId="{2369D342-BA41-4FE0-9661-17B0C42B7705}" type="presParOf" srcId="{4172A96A-131B-4689-BEAF-5B3A2198ED3E}" destId="{C491C004-1685-4467-A998-FC6F11DC8B1F}" srcOrd="2" destOrd="0" presId="urn:microsoft.com/office/officeart/2005/8/layout/lProcess2"/>
    <dgm:cxn modelId="{F2016B94-80EC-4E16-B860-5745489AFCB4}" type="presParOf" srcId="{4172A96A-131B-4689-BEAF-5B3A2198ED3E}" destId="{07641711-C911-4A43-99F4-E6C4CF0BCF63}" srcOrd="3" destOrd="0" presId="urn:microsoft.com/office/officeart/2005/8/layout/lProcess2"/>
    <dgm:cxn modelId="{40755756-5845-4BE9-B3E6-DC5F190CE976}" type="presParOf" srcId="{4172A96A-131B-4689-BEAF-5B3A2198ED3E}" destId="{FD2D8352-49D9-469E-A230-DADBD117C807}" srcOrd="4" destOrd="0" presId="urn:microsoft.com/office/officeart/2005/8/layout/lProcess2"/>
    <dgm:cxn modelId="{ECF1DB7E-38D7-4E83-9475-5D351B740126}" type="presParOf" srcId="{4172A96A-131B-4689-BEAF-5B3A2198ED3E}" destId="{CE228F9E-1D41-4F69-90E7-735DED476B57}" srcOrd="5" destOrd="0" presId="urn:microsoft.com/office/officeart/2005/8/layout/lProcess2"/>
    <dgm:cxn modelId="{6EF4DBF5-3763-4174-92B7-71698207CD43}" type="presParOf" srcId="{4172A96A-131B-4689-BEAF-5B3A2198ED3E}" destId="{7C2A3AFD-33F7-4CD6-BDFE-94031EFA4F34}" srcOrd="6" destOrd="0" presId="urn:microsoft.com/office/officeart/2005/8/layout/lProcess2"/>
    <dgm:cxn modelId="{BC72777B-504B-410E-B9BF-24C6529AC2D7}" type="presParOf" srcId="{4172A96A-131B-4689-BEAF-5B3A2198ED3E}" destId="{B11C80BA-2350-49C6-9C58-02F4F51EF544}" srcOrd="7" destOrd="0" presId="urn:microsoft.com/office/officeart/2005/8/layout/lProcess2"/>
    <dgm:cxn modelId="{8B8FE3C9-D656-49A6-94F4-8DD1F3840E99}" type="presParOf" srcId="{4172A96A-131B-4689-BEAF-5B3A2198ED3E}" destId="{722F5B64-A0D5-4F6E-808C-F85C07647CF2}" srcOrd="8" destOrd="0" presId="urn:microsoft.com/office/officeart/2005/8/layout/lProcess2"/>
    <dgm:cxn modelId="{8CF435FF-A26B-4331-B309-D0A0588156BA}" type="presParOf" srcId="{4172A96A-131B-4689-BEAF-5B3A2198ED3E}" destId="{85BB2420-DC25-405B-AECF-B7C4FA636673}" srcOrd="9" destOrd="0" presId="urn:microsoft.com/office/officeart/2005/8/layout/lProcess2"/>
    <dgm:cxn modelId="{5351F056-35F9-4596-B55D-EF513AF090F8}" type="presParOf" srcId="{4172A96A-131B-4689-BEAF-5B3A2198ED3E}" destId="{29FE16D1-80CD-4A39-AAAD-CCA2862CB320}" srcOrd="10" destOrd="0" presId="urn:microsoft.com/office/officeart/2005/8/layout/lProcess2"/>
    <dgm:cxn modelId="{8556CE65-D869-4BA1-818F-2B2DCB411487}" type="presParOf" srcId="{25C34C51-DD44-4CF7-9093-8E431A21B64C}" destId="{E458BA8C-3ABF-43B8-A528-91A5AD6A823C}" srcOrd="1" destOrd="0" presId="urn:microsoft.com/office/officeart/2005/8/layout/lProcess2"/>
    <dgm:cxn modelId="{B63BE485-D089-440E-B896-327BDF06C3ED}" type="presParOf" srcId="{25C34C51-DD44-4CF7-9093-8E431A21B64C}" destId="{F66B8E0B-8CA0-44E1-BBBA-3CD0B86F7AE9}" srcOrd="2" destOrd="0" presId="urn:microsoft.com/office/officeart/2005/8/layout/lProcess2"/>
    <dgm:cxn modelId="{17982BE6-A0B6-4CC5-A1B6-D681C0CB3C61}" type="presParOf" srcId="{F66B8E0B-8CA0-44E1-BBBA-3CD0B86F7AE9}" destId="{B8407922-97EB-490D-B881-2678AA595FC6}" srcOrd="0" destOrd="0" presId="urn:microsoft.com/office/officeart/2005/8/layout/lProcess2"/>
    <dgm:cxn modelId="{C9BE6A2D-9F23-4D0D-ABAC-EED5BD59998A}" type="presParOf" srcId="{F66B8E0B-8CA0-44E1-BBBA-3CD0B86F7AE9}" destId="{486F6940-B795-4D37-AED5-9F769E33E504}" srcOrd="1" destOrd="0" presId="urn:microsoft.com/office/officeart/2005/8/layout/lProcess2"/>
    <dgm:cxn modelId="{7D6EE32C-788D-4028-B4AD-6EE10E8D4B6E}" type="presParOf" srcId="{F66B8E0B-8CA0-44E1-BBBA-3CD0B86F7AE9}" destId="{848B1E5F-D138-4739-8D51-E1AD39C55485}" srcOrd="2" destOrd="0" presId="urn:microsoft.com/office/officeart/2005/8/layout/lProcess2"/>
    <dgm:cxn modelId="{E4109B5E-FD6A-49A4-B3B7-DF3CE5AB8991}" type="presParOf" srcId="{848B1E5F-D138-4739-8D51-E1AD39C55485}" destId="{2AE06199-8FB9-4157-9DDD-99DB3AD70777}" srcOrd="0" destOrd="0" presId="urn:microsoft.com/office/officeart/2005/8/layout/lProcess2"/>
    <dgm:cxn modelId="{549BF753-0156-4349-A76E-EE3D79FDF1F8}" type="presParOf" srcId="{2AE06199-8FB9-4157-9DDD-99DB3AD70777}" destId="{68BFE3A2-6418-4BA3-94CC-7F9BD0E45243}" srcOrd="0" destOrd="0" presId="urn:microsoft.com/office/officeart/2005/8/layout/lProcess2"/>
    <dgm:cxn modelId="{FD2A22BD-1F24-4CD0-9B13-90AEF62D9DB3}" type="presParOf" srcId="{25C34C51-DD44-4CF7-9093-8E431A21B64C}" destId="{DFA24516-5F19-4D67-95E0-BB889E409F94}" srcOrd="3" destOrd="0" presId="urn:microsoft.com/office/officeart/2005/8/layout/lProcess2"/>
    <dgm:cxn modelId="{D9CD1384-C7E1-474B-A061-93E9552CE3B0}" type="presParOf" srcId="{25C34C51-DD44-4CF7-9093-8E431A21B64C}" destId="{BF461080-0B43-456B-BB35-CD839CBB07C7}" srcOrd="4" destOrd="0" presId="urn:microsoft.com/office/officeart/2005/8/layout/lProcess2"/>
    <dgm:cxn modelId="{E5DCE5D6-337B-42E6-8A8B-31BBA3A6CBF7}" type="presParOf" srcId="{BF461080-0B43-456B-BB35-CD839CBB07C7}" destId="{5B50CB7B-9099-49D3-ABC7-125DCA43CCD9}" srcOrd="0" destOrd="0" presId="urn:microsoft.com/office/officeart/2005/8/layout/lProcess2"/>
    <dgm:cxn modelId="{ADCEDDA1-5064-428B-B196-6D3161118034}" type="presParOf" srcId="{BF461080-0B43-456B-BB35-CD839CBB07C7}" destId="{F458E3B3-8840-443F-A49D-0A54B25C98B1}" srcOrd="1" destOrd="0" presId="urn:microsoft.com/office/officeart/2005/8/layout/lProcess2"/>
    <dgm:cxn modelId="{BF010529-5D6C-4499-881A-EF9F60462522}" type="presParOf" srcId="{BF461080-0B43-456B-BB35-CD839CBB07C7}" destId="{72E0329F-54E8-4B50-B239-4C9E64591AD9}" srcOrd="2" destOrd="0" presId="urn:microsoft.com/office/officeart/2005/8/layout/lProcess2"/>
    <dgm:cxn modelId="{6C61B4DC-1C4A-463E-8DCC-9012E43DFDD3}" type="presParOf" srcId="{72E0329F-54E8-4B50-B239-4C9E64591AD9}" destId="{47CA0823-EB26-4EDA-8963-0AF2F4876C61}" srcOrd="0" destOrd="0" presId="urn:microsoft.com/office/officeart/2005/8/layout/lProcess2"/>
    <dgm:cxn modelId="{362955B2-0157-471B-B9AD-32B87B893582}" type="presParOf" srcId="{47CA0823-EB26-4EDA-8963-0AF2F4876C61}" destId="{249765C8-CC0F-4DDC-B32D-FF11D3CE524B}" srcOrd="0" destOrd="0" presId="urn:microsoft.com/office/officeart/2005/8/layout/lProcess2"/>
    <dgm:cxn modelId="{BD72E46C-E68A-406B-A398-7711A196354A}" type="presParOf" srcId="{47CA0823-EB26-4EDA-8963-0AF2F4876C61}" destId="{1C4825AD-256E-43BF-BEF9-67A4C889447C}" srcOrd="1" destOrd="0" presId="urn:microsoft.com/office/officeart/2005/8/layout/lProcess2"/>
    <dgm:cxn modelId="{4FD37D12-4BF5-436B-9F16-D7F0369D4FBE}" type="presParOf" srcId="{47CA0823-EB26-4EDA-8963-0AF2F4876C61}" destId="{64E5D62F-362B-4E15-BD2F-198501141F49}" srcOrd="2" destOrd="0" presId="urn:microsoft.com/office/officeart/2005/8/layout/lProcess2"/>
    <dgm:cxn modelId="{CA9FAF83-C78B-421A-B5AB-17835A2BB707}" type="presParOf" srcId="{47CA0823-EB26-4EDA-8963-0AF2F4876C61}" destId="{A8DC43E9-7C70-41E0-B3D8-EE21AC025D6D}" srcOrd="3" destOrd="0" presId="urn:microsoft.com/office/officeart/2005/8/layout/lProcess2"/>
    <dgm:cxn modelId="{65DE797C-D826-47FB-BB55-453DC2AA3C73}" type="presParOf" srcId="{47CA0823-EB26-4EDA-8963-0AF2F4876C61}" destId="{CEA03727-20F1-4D99-BB88-980E00EDC165}" srcOrd="4" destOrd="0" presId="urn:microsoft.com/office/officeart/2005/8/layout/lProcess2"/>
    <dgm:cxn modelId="{4084A8DD-B1BC-4CB8-84C1-05F75A212AC2}" type="presParOf" srcId="{25C34C51-DD44-4CF7-9093-8E431A21B64C}" destId="{98806541-8234-4259-847B-255E081C0451}" srcOrd="5" destOrd="0" presId="urn:microsoft.com/office/officeart/2005/8/layout/lProcess2"/>
    <dgm:cxn modelId="{E15D3AB6-EECC-45C6-887F-D697161869A4}" type="presParOf" srcId="{25C34C51-DD44-4CF7-9093-8E431A21B64C}" destId="{1F95F1F7-8C83-4833-AEAF-8C3CA2FD0DB8}" srcOrd="6" destOrd="0" presId="urn:microsoft.com/office/officeart/2005/8/layout/lProcess2"/>
    <dgm:cxn modelId="{2E05140D-3ED7-4B8B-8329-517641BB578A}" type="presParOf" srcId="{1F95F1F7-8C83-4833-AEAF-8C3CA2FD0DB8}" destId="{F31C0175-B334-48E0-B193-5D4833238F99}" srcOrd="0" destOrd="0" presId="urn:microsoft.com/office/officeart/2005/8/layout/lProcess2"/>
    <dgm:cxn modelId="{D6BBD5DF-6604-40F8-8F11-8DFB0D0AE4F0}" type="presParOf" srcId="{1F95F1F7-8C83-4833-AEAF-8C3CA2FD0DB8}" destId="{D0AE3645-E9EB-43CE-83B8-4FBEE13096C3}" srcOrd="1" destOrd="0" presId="urn:microsoft.com/office/officeart/2005/8/layout/lProcess2"/>
    <dgm:cxn modelId="{59124782-0B74-42C3-8E81-C79506DDE02B}" type="presParOf" srcId="{1F95F1F7-8C83-4833-AEAF-8C3CA2FD0DB8}" destId="{3E0B489D-CF58-439E-80DD-0E8CB5DB4F89}" srcOrd="2" destOrd="0" presId="urn:microsoft.com/office/officeart/2005/8/layout/lProcess2"/>
    <dgm:cxn modelId="{96E78150-5223-4219-B78D-F668151656B1}" type="presParOf" srcId="{3E0B489D-CF58-439E-80DD-0E8CB5DB4F89}" destId="{6677E5D1-61E1-45C2-9C17-7A593A4B826E}" srcOrd="0" destOrd="0" presId="urn:microsoft.com/office/officeart/2005/8/layout/lProcess2"/>
    <dgm:cxn modelId="{8F7E770F-D273-4D2A-B09A-D65A90071F88}" type="presParOf" srcId="{6677E5D1-61E1-45C2-9C17-7A593A4B826E}" destId="{229308E9-8BF8-41DE-9656-7A81547D4275}" srcOrd="0" destOrd="0" presId="urn:microsoft.com/office/officeart/2005/8/layout/lProcess2"/>
    <dgm:cxn modelId="{001119C4-1C22-4073-A2E5-F523BEBC6A1F}" type="presParOf" srcId="{6677E5D1-61E1-45C2-9C17-7A593A4B826E}" destId="{459756A6-D50B-456E-8ED1-3E868EF153FB}" srcOrd="1" destOrd="0" presId="urn:microsoft.com/office/officeart/2005/8/layout/lProcess2"/>
    <dgm:cxn modelId="{99CB989F-899B-4091-809A-66FD92EE58E3}" type="presParOf" srcId="{6677E5D1-61E1-45C2-9C17-7A593A4B826E}" destId="{38356073-02B5-4D70-A6DA-4413D8FC24C0}" srcOrd="2" destOrd="0" presId="urn:microsoft.com/office/officeart/2005/8/layout/lProcess2"/>
    <dgm:cxn modelId="{F53D79DD-F005-4DBC-B4C5-FE866F44881A}" type="presParOf" srcId="{25C34C51-DD44-4CF7-9093-8E431A21B64C}" destId="{2D299612-6FC8-46A9-84C2-376A917F0DA7}" srcOrd="7" destOrd="0" presId="urn:microsoft.com/office/officeart/2005/8/layout/lProcess2"/>
    <dgm:cxn modelId="{EB7ABCCE-68EA-445F-81D7-E4B825F80EF5}" type="presParOf" srcId="{25C34C51-DD44-4CF7-9093-8E431A21B64C}" destId="{274D7C75-EB53-4F30-B718-F289C57BE41E}" srcOrd="8" destOrd="0" presId="urn:microsoft.com/office/officeart/2005/8/layout/lProcess2"/>
    <dgm:cxn modelId="{2A0B016D-82D7-4387-9DC6-FC9A34A9C3CA}" type="presParOf" srcId="{274D7C75-EB53-4F30-B718-F289C57BE41E}" destId="{93666F92-EC83-44F8-86E0-F84AB2A333E8}" srcOrd="0" destOrd="0" presId="urn:microsoft.com/office/officeart/2005/8/layout/lProcess2"/>
    <dgm:cxn modelId="{C6776256-1EAD-4C0F-A016-63C8D0CBD85A}" type="presParOf" srcId="{274D7C75-EB53-4F30-B718-F289C57BE41E}" destId="{CE86D1D0-47B5-4A49-80D5-1C3F5590A201}" srcOrd="1" destOrd="0" presId="urn:microsoft.com/office/officeart/2005/8/layout/lProcess2"/>
    <dgm:cxn modelId="{6E8CC46D-E804-4FD4-BEEF-B658D3091CD2}" type="presParOf" srcId="{274D7C75-EB53-4F30-B718-F289C57BE41E}" destId="{D108C17A-632E-45BE-9BFB-B2115C7A8017}" srcOrd="2" destOrd="0" presId="urn:microsoft.com/office/officeart/2005/8/layout/lProcess2"/>
    <dgm:cxn modelId="{F2F42AB9-5773-4593-BD6E-7B09D61DB17E}" type="presParOf" srcId="{D108C17A-632E-45BE-9BFB-B2115C7A8017}" destId="{4D181405-9CC2-472C-8B5A-12EF10B82509}" srcOrd="0" destOrd="0" presId="urn:microsoft.com/office/officeart/2005/8/layout/lProcess2"/>
    <dgm:cxn modelId="{A7F394E2-95FE-4CA0-B500-596D916D4D3C}" type="presParOf" srcId="{4D181405-9CC2-472C-8B5A-12EF10B82509}" destId="{0E44B6FF-F35F-4BF9-B45F-D8702D26C268}"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CE73B2F-FAFD-4EEE-A9FF-F6D4F373E706}"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113DA095-5452-435F-AA7B-FAC458BB8D4C}">
      <dgm:prSet phldrT="[Text]" custT="1"/>
      <dgm:spPr/>
      <dgm:t>
        <a:bodyPr/>
        <a:lstStyle/>
        <a:p>
          <a:r>
            <a:rPr lang="en-ZA" sz="1800" dirty="0"/>
            <a:t>Acquire Permanent Immovable Asset</a:t>
          </a:r>
          <a:endParaRPr lang="en-US" sz="1800" dirty="0"/>
        </a:p>
      </dgm:t>
    </dgm:pt>
    <dgm:pt modelId="{E31D0E47-44FC-4AE4-9A0A-AEA0EA75B572}" type="parTrans" cxnId="{8645382B-5C53-424A-98C2-B96FE08A5ED5}">
      <dgm:prSet/>
      <dgm:spPr/>
      <dgm:t>
        <a:bodyPr/>
        <a:lstStyle/>
        <a:p>
          <a:endParaRPr lang="en-US"/>
        </a:p>
      </dgm:t>
    </dgm:pt>
    <dgm:pt modelId="{BC43D459-43C0-4F28-A88F-E13599987487}" type="sibTrans" cxnId="{8645382B-5C53-424A-98C2-B96FE08A5ED5}">
      <dgm:prSet/>
      <dgm:spPr/>
      <dgm:t>
        <a:bodyPr/>
        <a:lstStyle/>
        <a:p>
          <a:endParaRPr lang="en-US"/>
        </a:p>
      </dgm:t>
    </dgm:pt>
    <dgm:pt modelId="{1734ACA3-103F-4DB8-B73C-4461B2906292}">
      <dgm:prSet phldrT="[Text]" custT="1"/>
      <dgm:spPr>
        <a:solidFill>
          <a:srgbClr val="00B050"/>
        </a:solidFill>
      </dgm:spPr>
      <dgm:t>
        <a:bodyPr/>
        <a:lstStyle/>
        <a:p>
          <a:r>
            <a:rPr lang="en-ZA" sz="1400" b="1" dirty="0">
              <a:solidFill>
                <a:schemeClr val="tx1"/>
              </a:solidFill>
            </a:rPr>
            <a:t>PMIS</a:t>
          </a:r>
          <a:endParaRPr lang="en-US" sz="1400" b="1" dirty="0">
            <a:solidFill>
              <a:schemeClr val="tx1"/>
            </a:solidFill>
          </a:endParaRPr>
        </a:p>
      </dgm:t>
    </dgm:pt>
    <dgm:pt modelId="{90473797-7122-4780-B5C7-374FFE89A446}" type="parTrans" cxnId="{E9EBC4E6-0835-4B29-B4C7-CE1D9A5A0E6D}">
      <dgm:prSet/>
      <dgm:spPr/>
      <dgm:t>
        <a:bodyPr/>
        <a:lstStyle/>
        <a:p>
          <a:endParaRPr lang="en-US"/>
        </a:p>
      </dgm:t>
    </dgm:pt>
    <dgm:pt modelId="{DAADA45B-56BE-46D4-926F-61C1A02B4C15}" type="sibTrans" cxnId="{E9EBC4E6-0835-4B29-B4C7-CE1D9A5A0E6D}">
      <dgm:prSet/>
      <dgm:spPr/>
      <dgm:t>
        <a:bodyPr/>
        <a:lstStyle/>
        <a:p>
          <a:endParaRPr lang="en-US"/>
        </a:p>
      </dgm:t>
    </dgm:pt>
    <dgm:pt modelId="{CC29C4EA-9AA3-4411-A5B6-ABA351373323}">
      <dgm:prSet phldrT="[Text]" custT="1"/>
      <dgm:spPr>
        <a:solidFill>
          <a:srgbClr val="92D050"/>
        </a:solidFill>
      </dgm:spPr>
      <dgm:t>
        <a:bodyPr/>
        <a:lstStyle/>
        <a:p>
          <a:r>
            <a:rPr lang="en-US" sz="1400" b="1" dirty="0">
              <a:solidFill>
                <a:schemeClr val="tx1"/>
              </a:solidFill>
            </a:rPr>
            <a:t>WCS</a:t>
          </a:r>
        </a:p>
      </dgm:t>
    </dgm:pt>
    <dgm:pt modelId="{E3552424-08D6-4F15-A1EB-B5C10BCB6405}" type="parTrans" cxnId="{86C1261A-E23B-4FF8-AA28-153A60874D52}">
      <dgm:prSet/>
      <dgm:spPr/>
      <dgm:t>
        <a:bodyPr/>
        <a:lstStyle/>
        <a:p>
          <a:endParaRPr lang="en-US"/>
        </a:p>
      </dgm:t>
    </dgm:pt>
    <dgm:pt modelId="{B10B48D8-D0EC-448A-AD60-D6C3705E92C2}" type="sibTrans" cxnId="{86C1261A-E23B-4FF8-AA28-153A60874D52}">
      <dgm:prSet/>
      <dgm:spPr/>
      <dgm:t>
        <a:bodyPr/>
        <a:lstStyle/>
        <a:p>
          <a:endParaRPr lang="en-US"/>
        </a:p>
      </dgm:t>
    </dgm:pt>
    <dgm:pt modelId="{0DE8DE8A-0884-4410-AFA9-9664481B5571}">
      <dgm:prSet phldrT="[Text]" custT="1"/>
      <dgm:spPr/>
      <dgm:t>
        <a:bodyPr/>
        <a:lstStyle/>
        <a:p>
          <a:r>
            <a:rPr lang="en-ZA" sz="1800" dirty="0"/>
            <a:t>Construct</a:t>
          </a:r>
          <a:r>
            <a:rPr lang="en-ZA" sz="1600" dirty="0"/>
            <a:t> </a:t>
          </a:r>
          <a:r>
            <a:rPr lang="en-ZA" sz="1800" dirty="0"/>
            <a:t>Immovable Asset</a:t>
          </a:r>
          <a:endParaRPr lang="en-US" sz="1600" dirty="0"/>
        </a:p>
      </dgm:t>
    </dgm:pt>
    <dgm:pt modelId="{71B102B8-9C4B-4AA1-8CB5-FC934F7222BC}" type="parTrans" cxnId="{14EAE25E-3A90-44FA-9983-C9E591ACA0BA}">
      <dgm:prSet/>
      <dgm:spPr/>
      <dgm:t>
        <a:bodyPr/>
        <a:lstStyle/>
        <a:p>
          <a:endParaRPr lang="en-US"/>
        </a:p>
      </dgm:t>
    </dgm:pt>
    <dgm:pt modelId="{DCA1C4F9-08AF-4DC7-A94B-0A0464A55DCC}" type="sibTrans" cxnId="{14EAE25E-3A90-44FA-9983-C9E591ACA0BA}">
      <dgm:prSet/>
      <dgm:spPr/>
      <dgm:t>
        <a:bodyPr/>
        <a:lstStyle/>
        <a:p>
          <a:endParaRPr lang="en-US"/>
        </a:p>
      </dgm:t>
    </dgm:pt>
    <dgm:pt modelId="{07A320B2-817A-4A40-8A35-3FB929D5E65E}">
      <dgm:prSet phldrT="[Text]" custT="1"/>
      <dgm:spPr>
        <a:solidFill>
          <a:srgbClr val="92D050"/>
        </a:solidFill>
      </dgm:spPr>
      <dgm:t>
        <a:bodyPr/>
        <a:lstStyle/>
        <a:p>
          <a:r>
            <a:rPr lang="en-US" sz="1400" b="1" dirty="0">
              <a:solidFill>
                <a:schemeClr val="tx1"/>
              </a:solidFill>
            </a:rPr>
            <a:t>WCS</a:t>
          </a:r>
        </a:p>
      </dgm:t>
    </dgm:pt>
    <dgm:pt modelId="{C8D9C16C-7E42-42A8-9F02-D91B92632D00}" type="parTrans" cxnId="{859A6BBE-D3C9-4332-BA98-B211EB83C8C3}">
      <dgm:prSet/>
      <dgm:spPr/>
      <dgm:t>
        <a:bodyPr/>
        <a:lstStyle/>
        <a:p>
          <a:endParaRPr lang="en-US"/>
        </a:p>
      </dgm:t>
    </dgm:pt>
    <dgm:pt modelId="{90226AF9-5EA2-4FFF-BC1B-8A5A054F2A6D}" type="sibTrans" cxnId="{859A6BBE-D3C9-4332-BA98-B211EB83C8C3}">
      <dgm:prSet/>
      <dgm:spPr/>
      <dgm:t>
        <a:bodyPr/>
        <a:lstStyle/>
        <a:p>
          <a:endParaRPr lang="en-US"/>
        </a:p>
      </dgm:t>
    </dgm:pt>
    <dgm:pt modelId="{AAC0F72F-F0BD-4D73-8D1C-6EB83F18885D}">
      <dgm:prSet phldrT="[Text]" custT="1"/>
      <dgm:spPr>
        <a:solidFill>
          <a:srgbClr val="F046D0"/>
        </a:solidFill>
      </dgm:spPr>
      <dgm:t>
        <a:bodyPr/>
        <a:lstStyle/>
        <a:p>
          <a:r>
            <a:rPr lang="en-US" sz="1400" b="1" dirty="0">
              <a:solidFill>
                <a:schemeClr val="tx1"/>
              </a:solidFill>
            </a:rPr>
            <a:t>Reapatala</a:t>
          </a:r>
        </a:p>
      </dgm:t>
    </dgm:pt>
    <dgm:pt modelId="{E2EA11E9-0BB6-4C43-AF3A-E07D0D5A1883}" type="parTrans" cxnId="{A4264F76-9DDD-471A-8234-AB5FF98E2AA2}">
      <dgm:prSet/>
      <dgm:spPr/>
      <dgm:t>
        <a:bodyPr/>
        <a:lstStyle/>
        <a:p>
          <a:endParaRPr lang="en-US"/>
        </a:p>
      </dgm:t>
    </dgm:pt>
    <dgm:pt modelId="{2E9CB886-6BF4-4EB1-99B8-6F3A0B4A35A2}" type="sibTrans" cxnId="{A4264F76-9DDD-471A-8234-AB5FF98E2AA2}">
      <dgm:prSet/>
      <dgm:spPr/>
      <dgm:t>
        <a:bodyPr/>
        <a:lstStyle/>
        <a:p>
          <a:endParaRPr lang="en-US"/>
        </a:p>
      </dgm:t>
    </dgm:pt>
    <dgm:pt modelId="{D30C9C82-5F73-4D59-B9B3-E229F741FA6F}">
      <dgm:prSet phldrT="[Text]" custT="1"/>
      <dgm:spPr/>
      <dgm:t>
        <a:bodyPr/>
        <a:lstStyle/>
        <a:p>
          <a:r>
            <a:rPr lang="en-ZA" sz="1800" dirty="0"/>
            <a:t>Acquire Temporary Immovable Asset (Leasing In)</a:t>
          </a:r>
          <a:endParaRPr lang="en-US" sz="1800" dirty="0"/>
        </a:p>
      </dgm:t>
    </dgm:pt>
    <dgm:pt modelId="{65CFCADE-B126-49FE-93E5-95A98E25A73A}" type="parTrans" cxnId="{0AB86B1E-BD4B-44C9-9891-3893F431CA0D}">
      <dgm:prSet/>
      <dgm:spPr/>
      <dgm:t>
        <a:bodyPr/>
        <a:lstStyle/>
        <a:p>
          <a:endParaRPr lang="en-US"/>
        </a:p>
      </dgm:t>
    </dgm:pt>
    <dgm:pt modelId="{B3307AB8-2739-4523-B9B0-FFD77925BB40}" type="sibTrans" cxnId="{0AB86B1E-BD4B-44C9-9891-3893F431CA0D}">
      <dgm:prSet/>
      <dgm:spPr/>
      <dgm:t>
        <a:bodyPr/>
        <a:lstStyle/>
        <a:p>
          <a:endParaRPr lang="en-US"/>
        </a:p>
      </dgm:t>
    </dgm:pt>
    <dgm:pt modelId="{FBCEEB1D-63C6-4FAA-BAC3-833F14A4CCDC}">
      <dgm:prSet phldrT="[Text]" custT="1"/>
      <dgm:spPr/>
      <dgm:t>
        <a:bodyPr/>
        <a:lstStyle/>
        <a:p>
          <a:r>
            <a:rPr lang="en-ZA" sz="1800" dirty="0"/>
            <a:t>Manage Immovable Asset</a:t>
          </a:r>
          <a:endParaRPr lang="en-US" sz="1800" dirty="0"/>
        </a:p>
      </dgm:t>
    </dgm:pt>
    <dgm:pt modelId="{08789181-01B1-434A-898C-A4D4E2884DF7}" type="parTrans" cxnId="{991408F1-5F5D-4372-9682-B599809060D5}">
      <dgm:prSet/>
      <dgm:spPr/>
      <dgm:t>
        <a:bodyPr/>
        <a:lstStyle/>
        <a:p>
          <a:endParaRPr lang="en-US"/>
        </a:p>
      </dgm:t>
    </dgm:pt>
    <dgm:pt modelId="{7A6D933C-730A-4CEF-9846-5F567273BACA}" type="sibTrans" cxnId="{991408F1-5F5D-4372-9682-B599809060D5}">
      <dgm:prSet/>
      <dgm:spPr/>
      <dgm:t>
        <a:bodyPr/>
        <a:lstStyle/>
        <a:p>
          <a:endParaRPr lang="en-US"/>
        </a:p>
      </dgm:t>
    </dgm:pt>
    <dgm:pt modelId="{2292C262-BBAC-447E-8D05-6E2FE511E939}">
      <dgm:prSet phldrT="[Text]" custT="1"/>
      <dgm:spPr/>
      <dgm:t>
        <a:bodyPr/>
        <a:lstStyle/>
        <a:p>
          <a:r>
            <a:rPr lang="en-ZA" sz="1800" dirty="0"/>
            <a:t>Maintain Facility</a:t>
          </a:r>
          <a:endParaRPr lang="en-US" sz="1800" dirty="0"/>
        </a:p>
      </dgm:t>
    </dgm:pt>
    <dgm:pt modelId="{A99CA399-1D50-41DB-BA00-6FA8A46119E0}" type="parTrans" cxnId="{01E87EEB-7A05-469E-99EF-4500867FF535}">
      <dgm:prSet/>
      <dgm:spPr/>
      <dgm:t>
        <a:bodyPr/>
        <a:lstStyle/>
        <a:p>
          <a:endParaRPr lang="en-US"/>
        </a:p>
      </dgm:t>
    </dgm:pt>
    <dgm:pt modelId="{398EC6CD-F506-414F-8B10-D770D9200DC7}" type="sibTrans" cxnId="{01E87EEB-7A05-469E-99EF-4500867FF535}">
      <dgm:prSet/>
      <dgm:spPr/>
      <dgm:t>
        <a:bodyPr/>
        <a:lstStyle/>
        <a:p>
          <a:endParaRPr lang="en-US"/>
        </a:p>
      </dgm:t>
    </dgm:pt>
    <dgm:pt modelId="{F017A1AA-7527-4400-AB0B-7AF5BC65D34C}">
      <dgm:prSet phldrT="[Text]" custT="1"/>
      <dgm:spPr/>
      <dgm:t>
        <a:bodyPr/>
        <a:lstStyle/>
        <a:p>
          <a:r>
            <a:rPr lang="en-ZA" sz="1800" dirty="0"/>
            <a:t>Dispose (Temporary) Immovable Asset</a:t>
          </a:r>
          <a:endParaRPr lang="en-US" sz="1800" dirty="0"/>
        </a:p>
      </dgm:t>
    </dgm:pt>
    <dgm:pt modelId="{59431206-509F-4839-A34C-C1FB9561BD49}" type="parTrans" cxnId="{5F3238B8-36D5-45A7-9A30-EFC9411815B4}">
      <dgm:prSet/>
      <dgm:spPr/>
      <dgm:t>
        <a:bodyPr/>
        <a:lstStyle/>
        <a:p>
          <a:endParaRPr lang="en-US"/>
        </a:p>
      </dgm:t>
    </dgm:pt>
    <dgm:pt modelId="{8C9A555C-B2D9-4148-95BF-75F64481B10C}" type="sibTrans" cxnId="{5F3238B8-36D5-45A7-9A30-EFC9411815B4}">
      <dgm:prSet/>
      <dgm:spPr/>
      <dgm:t>
        <a:bodyPr/>
        <a:lstStyle/>
        <a:p>
          <a:endParaRPr lang="en-US"/>
        </a:p>
      </dgm:t>
    </dgm:pt>
    <dgm:pt modelId="{9B6169E3-7C2C-4A74-AA51-40489E6F977D}">
      <dgm:prSet phldrT="[Text]" custT="1"/>
      <dgm:spPr>
        <a:solidFill>
          <a:srgbClr val="00B050"/>
        </a:solidFill>
      </dgm:spPr>
      <dgm:t>
        <a:bodyPr/>
        <a:lstStyle/>
        <a:p>
          <a:r>
            <a:rPr lang="en-US" sz="1400" b="1" dirty="0">
              <a:solidFill>
                <a:schemeClr val="tx1"/>
              </a:solidFill>
            </a:rPr>
            <a:t>PMIS</a:t>
          </a:r>
        </a:p>
      </dgm:t>
    </dgm:pt>
    <dgm:pt modelId="{F1B4E79C-EA2E-45D2-A6C4-FA43FF0A569D}" type="parTrans" cxnId="{0F52C477-55FE-4371-9C37-B5663021D9CF}">
      <dgm:prSet/>
      <dgm:spPr/>
      <dgm:t>
        <a:bodyPr/>
        <a:lstStyle/>
        <a:p>
          <a:endParaRPr lang="en-US"/>
        </a:p>
      </dgm:t>
    </dgm:pt>
    <dgm:pt modelId="{2CB13A43-B0AC-4B3B-AC62-DACE11C7CE6F}" type="sibTrans" cxnId="{0F52C477-55FE-4371-9C37-B5663021D9CF}">
      <dgm:prSet/>
      <dgm:spPr/>
      <dgm:t>
        <a:bodyPr/>
        <a:lstStyle/>
        <a:p>
          <a:endParaRPr lang="en-US"/>
        </a:p>
      </dgm:t>
    </dgm:pt>
    <dgm:pt modelId="{142A9A7E-D5B0-4665-9767-C7E08D21D8B8}">
      <dgm:prSet phldrT="[Text]" custT="1"/>
      <dgm:spPr>
        <a:solidFill>
          <a:srgbClr val="00B050"/>
        </a:solidFill>
      </dgm:spPr>
      <dgm:t>
        <a:bodyPr/>
        <a:lstStyle/>
        <a:p>
          <a:r>
            <a:rPr lang="en-ZA" sz="1400" b="1" dirty="0">
              <a:solidFill>
                <a:schemeClr val="tx1"/>
              </a:solidFill>
            </a:rPr>
            <a:t>PMIS</a:t>
          </a:r>
          <a:endParaRPr lang="en-US" sz="1400" b="1" dirty="0">
            <a:solidFill>
              <a:schemeClr val="tx1"/>
            </a:solidFill>
          </a:endParaRPr>
        </a:p>
      </dgm:t>
    </dgm:pt>
    <dgm:pt modelId="{3CFA3A69-0376-4A8D-81B9-5085D7B8CD15}" type="parTrans" cxnId="{BD019E92-2F6B-424C-864A-BD6C52C5B6C7}">
      <dgm:prSet/>
      <dgm:spPr/>
      <dgm:t>
        <a:bodyPr/>
        <a:lstStyle/>
        <a:p>
          <a:endParaRPr lang="en-US"/>
        </a:p>
      </dgm:t>
    </dgm:pt>
    <dgm:pt modelId="{AEC2CA67-8BE9-4474-A244-2C3BD37F9EC8}" type="sibTrans" cxnId="{BD019E92-2F6B-424C-864A-BD6C52C5B6C7}">
      <dgm:prSet/>
      <dgm:spPr/>
      <dgm:t>
        <a:bodyPr/>
        <a:lstStyle/>
        <a:p>
          <a:endParaRPr lang="en-US"/>
        </a:p>
      </dgm:t>
    </dgm:pt>
    <dgm:pt modelId="{C306DF72-2098-4602-88D9-4911316BE5D2}">
      <dgm:prSet phldrT="[Text]" custT="1"/>
      <dgm:spPr>
        <a:solidFill>
          <a:srgbClr val="00B050"/>
        </a:solidFill>
      </dgm:spPr>
      <dgm:t>
        <a:bodyPr/>
        <a:lstStyle/>
        <a:p>
          <a:r>
            <a:rPr lang="en-ZA" sz="1400" b="1" dirty="0">
              <a:solidFill>
                <a:schemeClr val="tx1"/>
              </a:solidFill>
            </a:rPr>
            <a:t>PMIS</a:t>
          </a:r>
          <a:endParaRPr lang="en-US" sz="1400" b="1" dirty="0">
            <a:solidFill>
              <a:schemeClr val="tx1"/>
            </a:solidFill>
          </a:endParaRPr>
        </a:p>
      </dgm:t>
    </dgm:pt>
    <dgm:pt modelId="{56459E09-0BA8-4903-BFB9-6591AFADABBD}" type="parTrans" cxnId="{A11E8B17-E610-48A1-82FA-74114D5B7D7C}">
      <dgm:prSet/>
      <dgm:spPr/>
      <dgm:t>
        <a:bodyPr/>
        <a:lstStyle/>
        <a:p>
          <a:endParaRPr lang="en-US"/>
        </a:p>
      </dgm:t>
    </dgm:pt>
    <dgm:pt modelId="{5E6A3D1C-3778-4DD5-8BC0-16C9EA493757}" type="sibTrans" cxnId="{A11E8B17-E610-48A1-82FA-74114D5B7D7C}">
      <dgm:prSet/>
      <dgm:spPr/>
      <dgm:t>
        <a:bodyPr/>
        <a:lstStyle/>
        <a:p>
          <a:endParaRPr lang="en-US"/>
        </a:p>
      </dgm:t>
    </dgm:pt>
    <dgm:pt modelId="{D7B85C29-CD8D-4FA2-A0CB-82661CA1B500}">
      <dgm:prSet phldrT="[Text]" custT="1"/>
      <dgm:spPr/>
      <dgm:t>
        <a:bodyPr/>
        <a:lstStyle/>
        <a:p>
          <a:r>
            <a:rPr lang="en-ZA" sz="1800" dirty="0"/>
            <a:t>Dispose (Permanent) Immovable Asset</a:t>
          </a:r>
          <a:endParaRPr lang="en-US" sz="1800" dirty="0"/>
        </a:p>
      </dgm:t>
    </dgm:pt>
    <dgm:pt modelId="{842222B3-6131-439F-9A46-F726BF78B079}" type="sibTrans" cxnId="{EDDD1665-E48F-454D-9F64-FBF0B4248A3F}">
      <dgm:prSet/>
      <dgm:spPr/>
      <dgm:t>
        <a:bodyPr/>
        <a:lstStyle/>
        <a:p>
          <a:endParaRPr lang="en-US"/>
        </a:p>
      </dgm:t>
    </dgm:pt>
    <dgm:pt modelId="{D9652F9C-188A-4EB8-883D-DFB6FE5C0F7E}" type="parTrans" cxnId="{EDDD1665-E48F-454D-9F64-FBF0B4248A3F}">
      <dgm:prSet/>
      <dgm:spPr/>
      <dgm:t>
        <a:bodyPr/>
        <a:lstStyle/>
        <a:p>
          <a:endParaRPr lang="en-US"/>
        </a:p>
      </dgm:t>
    </dgm:pt>
    <dgm:pt modelId="{F0CA0E10-7139-48FD-8EB1-D4F68DC4AA7F}">
      <dgm:prSet phldrT="[Text]" custT="1"/>
      <dgm:spPr>
        <a:solidFill>
          <a:srgbClr val="00B050"/>
        </a:solidFill>
      </dgm:spPr>
      <dgm:t>
        <a:bodyPr/>
        <a:lstStyle/>
        <a:p>
          <a:r>
            <a:rPr lang="en-US" sz="1400" b="1" dirty="0">
              <a:solidFill>
                <a:schemeClr val="tx1"/>
              </a:solidFill>
            </a:rPr>
            <a:t>PMIS</a:t>
          </a:r>
        </a:p>
      </dgm:t>
    </dgm:pt>
    <dgm:pt modelId="{B089E659-ADCA-4F3D-9E9C-0E8A293F1B27}" type="sibTrans" cxnId="{E83D6BFF-9D62-40D8-999C-48A4A990AB0A}">
      <dgm:prSet/>
      <dgm:spPr/>
      <dgm:t>
        <a:bodyPr/>
        <a:lstStyle/>
        <a:p>
          <a:endParaRPr lang="en-US"/>
        </a:p>
      </dgm:t>
    </dgm:pt>
    <dgm:pt modelId="{05B39971-795A-4714-AA50-D06E27350C61}" type="parTrans" cxnId="{E83D6BFF-9D62-40D8-999C-48A4A990AB0A}">
      <dgm:prSet/>
      <dgm:spPr/>
      <dgm:t>
        <a:bodyPr/>
        <a:lstStyle/>
        <a:p>
          <a:endParaRPr lang="en-US"/>
        </a:p>
      </dgm:t>
    </dgm:pt>
    <dgm:pt modelId="{FFD0F89A-3A7D-4756-BA0C-B4ABDDDA4973}">
      <dgm:prSet phldrT="[Text]" custT="1"/>
      <dgm:spPr>
        <a:solidFill>
          <a:srgbClr val="92D050"/>
        </a:solidFill>
      </dgm:spPr>
      <dgm:t>
        <a:bodyPr/>
        <a:lstStyle/>
        <a:p>
          <a:r>
            <a:rPr lang="en-US" sz="1400" b="1" dirty="0">
              <a:solidFill>
                <a:schemeClr val="tx1"/>
              </a:solidFill>
            </a:rPr>
            <a:t>WCS</a:t>
          </a:r>
        </a:p>
      </dgm:t>
    </dgm:pt>
    <dgm:pt modelId="{2E7C6E17-DE6E-4014-8058-A49709337206}" type="parTrans" cxnId="{EF769624-304D-42D1-AA0A-EE2D2D9CCB9D}">
      <dgm:prSet/>
      <dgm:spPr/>
      <dgm:t>
        <a:bodyPr/>
        <a:lstStyle/>
        <a:p>
          <a:endParaRPr lang="en-US"/>
        </a:p>
      </dgm:t>
    </dgm:pt>
    <dgm:pt modelId="{540DB1B5-0304-44CF-AFD2-CB18648F6F3C}" type="sibTrans" cxnId="{EF769624-304D-42D1-AA0A-EE2D2D9CCB9D}">
      <dgm:prSet/>
      <dgm:spPr/>
      <dgm:t>
        <a:bodyPr/>
        <a:lstStyle/>
        <a:p>
          <a:endParaRPr lang="en-US"/>
        </a:p>
      </dgm:t>
    </dgm:pt>
    <dgm:pt modelId="{E8DB2AEC-DAB5-4622-B063-D2B95BDF8979}">
      <dgm:prSet phldrT="[Text]" custT="1"/>
      <dgm:spPr/>
      <dgm:t>
        <a:bodyPr/>
        <a:lstStyle/>
        <a:p>
          <a:r>
            <a:rPr lang="en-US" sz="1100" b="1" dirty="0">
              <a:solidFill>
                <a:schemeClr val="tx1"/>
              </a:solidFill>
            </a:rPr>
            <a:t>Security Management</a:t>
          </a:r>
        </a:p>
      </dgm:t>
    </dgm:pt>
    <dgm:pt modelId="{2763ED47-DBDB-4B9B-B4D4-BACA2BEBAC98}" type="sibTrans" cxnId="{572896E1-4FF4-4B35-8034-EDDF3362766C}">
      <dgm:prSet/>
      <dgm:spPr/>
      <dgm:t>
        <a:bodyPr/>
        <a:lstStyle/>
        <a:p>
          <a:endParaRPr lang="en-US"/>
        </a:p>
      </dgm:t>
    </dgm:pt>
    <dgm:pt modelId="{161300D1-F12F-409B-B2D8-0DC857967E5B}" type="parTrans" cxnId="{572896E1-4FF4-4B35-8034-EDDF3362766C}">
      <dgm:prSet/>
      <dgm:spPr/>
      <dgm:t>
        <a:bodyPr/>
        <a:lstStyle/>
        <a:p>
          <a:endParaRPr lang="en-US"/>
        </a:p>
      </dgm:t>
    </dgm:pt>
    <dgm:pt modelId="{E05F83EB-56F9-4ABB-8536-C6FCE9E25488}">
      <dgm:prSet phldrT="[Text]" custT="1"/>
      <dgm:spPr/>
      <dgm:t>
        <a:bodyPr/>
        <a:lstStyle/>
        <a:p>
          <a:r>
            <a:rPr lang="en-US" sz="1100" b="1" dirty="0">
              <a:solidFill>
                <a:schemeClr val="tx1"/>
              </a:solidFill>
            </a:rPr>
            <a:t>Information Security Storage System</a:t>
          </a:r>
        </a:p>
      </dgm:t>
    </dgm:pt>
    <dgm:pt modelId="{2120629D-9742-4864-A9AB-F63668CF8C33}" type="parTrans" cxnId="{1CD9DA1E-2FDA-4B07-823E-34A693F9B939}">
      <dgm:prSet/>
      <dgm:spPr/>
      <dgm:t>
        <a:bodyPr/>
        <a:lstStyle/>
        <a:p>
          <a:endParaRPr lang="en-US"/>
        </a:p>
      </dgm:t>
    </dgm:pt>
    <dgm:pt modelId="{BC62097C-AC41-468F-BA48-93D7DA3E98F8}" type="sibTrans" cxnId="{1CD9DA1E-2FDA-4B07-823E-34A693F9B939}">
      <dgm:prSet/>
      <dgm:spPr/>
      <dgm:t>
        <a:bodyPr/>
        <a:lstStyle/>
        <a:p>
          <a:endParaRPr lang="en-US"/>
        </a:p>
      </dgm:t>
    </dgm:pt>
    <dgm:pt modelId="{99417997-26E1-423C-9A94-8AF5B7FDF58B}">
      <dgm:prSet phldrT="[Text]"/>
      <dgm:spPr/>
      <dgm:t>
        <a:bodyPr/>
        <a:lstStyle/>
        <a:p>
          <a:r>
            <a:rPr lang="en-US" b="1" dirty="0">
              <a:solidFill>
                <a:schemeClr val="tx1"/>
              </a:solidFill>
            </a:rPr>
            <a:t>OHS Management System</a:t>
          </a:r>
        </a:p>
      </dgm:t>
    </dgm:pt>
    <dgm:pt modelId="{7D7CE723-6043-45E3-9637-9DD7C35779B8}" type="parTrans" cxnId="{9EF6133A-9925-4C1D-BE0D-68D0F6850C5F}">
      <dgm:prSet/>
      <dgm:spPr/>
      <dgm:t>
        <a:bodyPr/>
        <a:lstStyle/>
        <a:p>
          <a:endParaRPr lang="en-US"/>
        </a:p>
      </dgm:t>
    </dgm:pt>
    <dgm:pt modelId="{451E1812-5B68-4795-AC01-E84ADFA7BB12}" type="sibTrans" cxnId="{9EF6133A-9925-4C1D-BE0D-68D0F6850C5F}">
      <dgm:prSet/>
      <dgm:spPr/>
      <dgm:t>
        <a:bodyPr/>
        <a:lstStyle/>
        <a:p>
          <a:endParaRPr lang="en-US"/>
        </a:p>
      </dgm:t>
    </dgm:pt>
    <dgm:pt modelId="{EED235E5-BF71-4A43-832B-B79797918672}">
      <dgm:prSet phldrT="[Text]"/>
      <dgm:spPr>
        <a:solidFill>
          <a:srgbClr val="00B050"/>
        </a:solidFill>
      </dgm:spPr>
      <dgm:t>
        <a:bodyPr/>
        <a:lstStyle/>
        <a:p>
          <a:r>
            <a:rPr lang="en-US" b="1" dirty="0">
              <a:solidFill>
                <a:schemeClr val="tx1"/>
              </a:solidFill>
            </a:rPr>
            <a:t>PMIS</a:t>
          </a:r>
        </a:p>
      </dgm:t>
    </dgm:pt>
    <dgm:pt modelId="{64F05E4B-C736-40F5-A30E-8B6EBA7D5E35}" type="parTrans" cxnId="{E8B9DAEF-FAEB-428B-BF58-9A8BB18566F2}">
      <dgm:prSet/>
      <dgm:spPr/>
      <dgm:t>
        <a:bodyPr/>
        <a:lstStyle/>
        <a:p>
          <a:endParaRPr lang="en-US"/>
        </a:p>
      </dgm:t>
    </dgm:pt>
    <dgm:pt modelId="{91C2F76F-E189-42AA-A00E-0EB8A4E5E13D}" type="sibTrans" cxnId="{E8B9DAEF-FAEB-428B-BF58-9A8BB18566F2}">
      <dgm:prSet/>
      <dgm:spPr/>
      <dgm:t>
        <a:bodyPr/>
        <a:lstStyle/>
        <a:p>
          <a:endParaRPr lang="en-US"/>
        </a:p>
      </dgm:t>
    </dgm:pt>
    <dgm:pt modelId="{19BA518D-EF82-49F7-BBF5-EDB1D8FB2F8B}">
      <dgm:prSet phldrT="[Text]"/>
      <dgm:spPr>
        <a:solidFill>
          <a:schemeClr val="accent3"/>
        </a:solidFill>
      </dgm:spPr>
      <dgm:t>
        <a:bodyPr/>
        <a:lstStyle/>
        <a:p>
          <a:r>
            <a:rPr lang="en-ZA" b="1" dirty="0">
              <a:solidFill>
                <a:schemeClr val="tx1"/>
              </a:solidFill>
            </a:rPr>
            <a:t>Worx4U</a:t>
          </a:r>
          <a:endParaRPr lang="en-US" b="1" dirty="0">
            <a:solidFill>
              <a:schemeClr val="tx1"/>
            </a:solidFill>
          </a:endParaRPr>
        </a:p>
      </dgm:t>
    </dgm:pt>
    <dgm:pt modelId="{FBFC98F5-342B-45C3-BB1A-952A788D6786}" type="parTrans" cxnId="{7B62909F-8803-4A6A-BBB1-A562F6E547C0}">
      <dgm:prSet/>
      <dgm:spPr/>
      <dgm:t>
        <a:bodyPr/>
        <a:lstStyle/>
        <a:p>
          <a:endParaRPr lang="en-US"/>
        </a:p>
      </dgm:t>
    </dgm:pt>
    <dgm:pt modelId="{870145F5-56C8-45F3-9C24-A0E08267E89B}" type="sibTrans" cxnId="{7B62909F-8803-4A6A-BBB1-A562F6E547C0}">
      <dgm:prSet/>
      <dgm:spPr/>
      <dgm:t>
        <a:bodyPr/>
        <a:lstStyle/>
        <a:p>
          <a:endParaRPr lang="en-US"/>
        </a:p>
      </dgm:t>
    </dgm:pt>
    <dgm:pt modelId="{D9476758-41A1-48D2-8370-ECB147A81598}">
      <dgm:prSet phldrT="[Text]"/>
      <dgm:spPr>
        <a:solidFill>
          <a:schemeClr val="accent3"/>
        </a:solidFill>
      </dgm:spPr>
      <dgm:t>
        <a:bodyPr/>
        <a:lstStyle/>
        <a:p>
          <a:r>
            <a:rPr lang="en-ZA" b="1" dirty="0">
              <a:solidFill>
                <a:schemeClr val="tx1"/>
              </a:solidFill>
            </a:rPr>
            <a:t>Archibus</a:t>
          </a:r>
          <a:endParaRPr lang="en-US" b="1" dirty="0">
            <a:solidFill>
              <a:schemeClr val="tx1"/>
            </a:solidFill>
          </a:endParaRPr>
        </a:p>
      </dgm:t>
    </dgm:pt>
    <dgm:pt modelId="{99DC9EED-2222-408A-A10A-CB6370949CFB}" type="parTrans" cxnId="{2FC85364-B354-4009-8890-4D3134A5B609}">
      <dgm:prSet/>
      <dgm:spPr/>
      <dgm:t>
        <a:bodyPr/>
        <a:lstStyle/>
        <a:p>
          <a:endParaRPr lang="en-US"/>
        </a:p>
      </dgm:t>
    </dgm:pt>
    <dgm:pt modelId="{C7DA5C7B-39CF-42AD-9A2D-9E1A6E710B9F}" type="sibTrans" cxnId="{2FC85364-B354-4009-8890-4D3134A5B609}">
      <dgm:prSet/>
      <dgm:spPr/>
      <dgm:t>
        <a:bodyPr/>
        <a:lstStyle/>
        <a:p>
          <a:endParaRPr lang="en-US"/>
        </a:p>
      </dgm:t>
    </dgm:pt>
    <dgm:pt modelId="{F0D26355-3560-4939-B819-6DAEBEE51EC2}">
      <dgm:prSet phldrT="[Text]" custT="1"/>
      <dgm:spPr>
        <a:solidFill>
          <a:srgbClr val="92D050"/>
        </a:solidFill>
      </dgm:spPr>
      <dgm:t>
        <a:bodyPr/>
        <a:lstStyle/>
        <a:p>
          <a:r>
            <a:rPr lang="en-US" sz="1400" b="1" dirty="0">
              <a:solidFill>
                <a:schemeClr val="tx1"/>
              </a:solidFill>
            </a:rPr>
            <a:t>MDB</a:t>
          </a:r>
        </a:p>
      </dgm:t>
    </dgm:pt>
    <dgm:pt modelId="{203F0298-FA97-427F-8CDC-2ED98DCA9DD2}" type="parTrans" cxnId="{D347F332-8E42-477C-858F-7D2F6021D356}">
      <dgm:prSet/>
      <dgm:spPr/>
      <dgm:t>
        <a:bodyPr/>
        <a:lstStyle/>
        <a:p>
          <a:endParaRPr lang="en-ZA"/>
        </a:p>
      </dgm:t>
    </dgm:pt>
    <dgm:pt modelId="{693E77F5-3541-49BB-929F-31D70CEBEA98}" type="sibTrans" cxnId="{D347F332-8E42-477C-858F-7D2F6021D356}">
      <dgm:prSet/>
      <dgm:spPr/>
      <dgm:t>
        <a:bodyPr/>
        <a:lstStyle/>
        <a:p>
          <a:endParaRPr lang="en-ZA"/>
        </a:p>
      </dgm:t>
    </dgm:pt>
    <dgm:pt modelId="{F86B7B88-BC1E-4B34-BEE3-F87AD121C771}">
      <dgm:prSet phldrT="[Text]" custT="1"/>
      <dgm:spPr>
        <a:solidFill>
          <a:srgbClr val="0070C0"/>
        </a:solidFill>
      </dgm:spPr>
      <dgm:t>
        <a:bodyPr/>
        <a:lstStyle/>
        <a:p>
          <a:r>
            <a:rPr lang="en-US" sz="1400" b="1" dirty="0">
              <a:solidFill>
                <a:schemeClr val="tx1"/>
              </a:solidFill>
            </a:rPr>
            <a:t>Paper Trail System</a:t>
          </a:r>
        </a:p>
      </dgm:t>
    </dgm:pt>
    <dgm:pt modelId="{4E768E85-D7E3-4F1D-BBE6-0EC3DC45C190}" type="parTrans" cxnId="{76A51581-9964-4D74-ADD5-D1C1ACC5C39A}">
      <dgm:prSet/>
      <dgm:spPr/>
      <dgm:t>
        <a:bodyPr/>
        <a:lstStyle/>
        <a:p>
          <a:endParaRPr lang="en-ZA"/>
        </a:p>
      </dgm:t>
    </dgm:pt>
    <dgm:pt modelId="{78A863A9-5026-45A7-A174-B5413CEBBB25}" type="sibTrans" cxnId="{76A51581-9964-4D74-ADD5-D1C1ACC5C39A}">
      <dgm:prSet/>
      <dgm:spPr/>
      <dgm:t>
        <a:bodyPr/>
        <a:lstStyle/>
        <a:p>
          <a:endParaRPr lang="en-ZA"/>
        </a:p>
      </dgm:t>
    </dgm:pt>
    <dgm:pt modelId="{25C34C51-DD44-4CF7-9093-8E431A21B64C}" type="pres">
      <dgm:prSet presAssocID="{7CE73B2F-FAFD-4EEE-A9FF-F6D4F373E706}" presName="theList" presStyleCnt="0">
        <dgm:presLayoutVars>
          <dgm:dir/>
          <dgm:animLvl val="lvl"/>
          <dgm:resizeHandles val="exact"/>
        </dgm:presLayoutVars>
      </dgm:prSet>
      <dgm:spPr/>
      <dgm:t>
        <a:bodyPr/>
        <a:lstStyle/>
        <a:p>
          <a:endParaRPr lang="en-ZA"/>
        </a:p>
      </dgm:t>
    </dgm:pt>
    <dgm:pt modelId="{41E61EFC-DE92-4069-9BB0-5750A196C60C}" type="pres">
      <dgm:prSet presAssocID="{113DA095-5452-435F-AA7B-FAC458BB8D4C}" presName="compNode" presStyleCnt="0"/>
      <dgm:spPr/>
    </dgm:pt>
    <dgm:pt modelId="{75F72EC7-A214-4FC2-8112-2BFCCF8B6826}" type="pres">
      <dgm:prSet presAssocID="{113DA095-5452-435F-AA7B-FAC458BB8D4C}" presName="aNode" presStyleLbl="bgShp" presStyleIdx="0" presStyleCnt="7" custLinFactNeighborX="1144" custLinFactNeighborY="-511"/>
      <dgm:spPr/>
      <dgm:t>
        <a:bodyPr/>
        <a:lstStyle/>
        <a:p>
          <a:endParaRPr lang="en-ZA"/>
        </a:p>
      </dgm:t>
    </dgm:pt>
    <dgm:pt modelId="{9BC95D67-8633-425D-A6CB-B1E2A40B6885}" type="pres">
      <dgm:prSet presAssocID="{113DA095-5452-435F-AA7B-FAC458BB8D4C}" presName="textNode" presStyleLbl="bgShp" presStyleIdx="0" presStyleCnt="7"/>
      <dgm:spPr/>
      <dgm:t>
        <a:bodyPr/>
        <a:lstStyle/>
        <a:p>
          <a:endParaRPr lang="en-ZA"/>
        </a:p>
      </dgm:t>
    </dgm:pt>
    <dgm:pt modelId="{6FF7FCAE-AA24-4A9C-A3D4-8D8C8C5B5519}" type="pres">
      <dgm:prSet presAssocID="{113DA095-5452-435F-AA7B-FAC458BB8D4C}" presName="compChildNode" presStyleCnt="0"/>
      <dgm:spPr/>
    </dgm:pt>
    <dgm:pt modelId="{914B2803-74F9-4516-8EB9-0ED031387988}" type="pres">
      <dgm:prSet presAssocID="{113DA095-5452-435F-AA7B-FAC458BB8D4C}" presName="theInnerList" presStyleCnt="0"/>
      <dgm:spPr/>
    </dgm:pt>
    <dgm:pt modelId="{3B34FDFE-936D-483A-A038-77B8C191A391}" type="pres">
      <dgm:prSet presAssocID="{1734ACA3-103F-4DB8-B73C-4461B2906292}" presName="childNode" presStyleLbl="node1" presStyleIdx="0" presStyleCnt="17" custLinFactNeighborX="2890" custLinFactNeighborY="694">
        <dgm:presLayoutVars>
          <dgm:bulletEnabled val="1"/>
        </dgm:presLayoutVars>
      </dgm:prSet>
      <dgm:spPr/>
      <dgm:t>
        <a:bodyPr/>
        <a:lstStyle/>
        <a:p>
          <a:endParaRPr lang="en-ZA"/>
        </a:p>
      </dgm:t>
    </dgm:pt>
    <dgm:pt modelId="{6A05FFFE-189A-4AF4-AC15-5CE0B1831ED1}" type="pres">
      <dgm:prSet presAssocID="{1734ACA3-103F-4DB8-B73C-4461B2906292}" presName="aSpace2" presStyleCnt="0"/>
      <dgm:spPr/>
    </dgm:pt>
    <dgm:pt modelId="{17912C79-9C45-49FE-97C9-D285DD9CFB45}" type="pres">
      <dgm:prSet presAssocID="{CC29C4EA-9AA3-4411-A5B6-ABA351373323}" presName="childNode" presStyleLbl="node1" presStyleIdx="1" presStyleCnt="17">
        <dgm:presLayoutVars>
          <dgm:bulletEnabled val="1"/>
        </dgm:presLayoutVars>
      </dgm:prSet>
      <dgm:spPr/>
      <dgm:t>
        <a:bodyPr/>
        <a:lstStyle/>
        <a:p>
          <a:endParaRPr lang="en-ZA"/>
        </a:p>
      </dgm:t>
    </dgm:pt>
    <dgm:pt modelId="{2AAF9880-DEC7-42F6-A055-88307C3FB33D}" type="pres">
      <dgm:prSet presAssocID="{113DA095-5452-435F-AA7B-FAC458BB8D4C}" presName="aSpace" presStyleCnt="0"/>
      <dgm:spPr/>
    </dgm:pt>
    <dgm:pt modelId="{FBA55374-AA05-4E23-A02F-7ED88A254A1A}" type="pres">
      <dgm:prSet presAssocID="{0DE8DE8A-0884-4410-AFA9-9664481B5571}" presName="compNode" presStyleCnt="0"/>
      <dgm:spPr/>
    </dgm:pt>
    <dgm:pt modelId="{B423EEEF-7E0C-4065-8F0A-7BE9E962D0A4}" type="pres">
      <dgm:prSet presAssocID="{0DE8DE8A-0884-4410-AFA9-9664481B5571}" presName="aNode" presStyleLbl="bgShp" presStyleIdx="1" presStyleCnt="7" custScaleX="104986" custLinFactNeighborX="3577"/>
      <dgm:spPr/>
      <dgm:t>
        <a:bodyPr/>
        <a:lstStyle/>
        <a:p>
          <a:endParaRPr lang="en-ZA"/>
        </a:p>
      </dgm:t>
    </dgm:pt>
    <dgm:pt modelId="{BD9F3F95-002F-44A9-A237-DD1201CCC13B}" type="pres">
      <dgm:prSet presAssocID="{0DE8DE8A-0884-4410-AFA9-9664481B5571}" presName="textNode" presStyleLbl="bgShp" presStyleIdx="1" presStyleCnt="7"/>
      <dgm:spPr/>
      <dgm:t>
        <a:bodyPr/>
        <a:lstStyle/>
        <a:p>
          <a:endParaRPr lang="en-ZA"/>
        </a:p>
      </dgm:t>
    </dgm:pt>
    <dgm:pt modelId="{334FD5FC-2142-4BFF-ABD7-BA0CD193C5EE}" type="pres">
      <dgm:prSet presAssocID="{0DE8DE8A-0884-4410-AFA9-9664481B5571}" presName="compChildNode" presStyleCnt="0"/>
      <dgm:spPr/>
    </dgm:pt>
    <dgm:pt modelId="{EF646CFA-9D0D-4B8A-900A-296C93D09BBE}" type="pres">
      <dgm:prSet presAssocID="{0DE8DE8A-0884-4410-AFA9-9664481B5571}" presName="theInnerList" presStyleCnt="0"/>
      <dgm:spPr/>
    </dgm:pt>
    <dgm:pt modelId="{995D5F5A-FFEE-4498-818A-B62E041DFD04}" type="pres">
      <dgm:prSet presAssocID="{07A320B2-817A-4A40-8A35-3FB929D5E65E}" presName="childNode" presStyleLbl="node1" presStyleIdx="2" presStyleCnt="17" custLinFactNeighborX="4958">
        <dgm:presLayoutVars>
          <dgm:bulletEnabled val="1"/>
        </dgm:presLayoutVars>
      </dgm:prSet>
      <dgm:spPr/>
      <dgm:t>
        <a:bodyPr/>
        <a:lstStyle/>
        <a:p>
          <a:endParaRPr lang="en-ZA"/>
        </a:p>
      </dgm:t>
    </dgm:pt>
    <dgm:pt modelId="{64C1376D-5A71-4022-8B1F-52A3F1FFF04C}" type="pres">
      <dgm:prSet presAssocID="{07A320B2-817A-4A40-8A35-3FB929D5E65E}" presName="aSpace2" presStyleCnt="0"/>
      <dgm:spPr/>
    </dgm:pt>
    <dgm:pt modelId="{8C7B915C-82B8-4116-8E92-FA84D3401B04}" type="pres">
      <dgm:prSet presAssocID="{AAC0F72F-F0BD-4D73-8D1C-6EB83F18885D}" presName="childNode" presStyleLbl="node1" presStyleIdx="3" presStyleCnt="17" custLinFactNeighborX="2448">
        <dgm:presLayoutVars>
          <dgm:bulletEnabled val="1"/>
        </dgm:presLayoutVars>
      </dgm:prSet>
      <dgm:spPr/>
      <dgm:t>
        <a:bodyPr/>
        <a:lstStyle/>
        <a:p>
          <a:endParaRPr lang="en-ZA"/>
        </a:p>
      </dgm:t>
    </dgm:pt>
    <dgm:pt modelId="{435ED84E-9F11-469F-AFFD-7AEF74B954E2}" type="pres">
      <dgm:prSet presAssocID="{0DE8DE8A-0884-4410-AFA9-9664481B5571}" presName="aSpace" presStyleCnt="0"/>
      <dgm:spPr/>
    </dgm:pt>
    <dgm:pt modelId="{BF461080-0B43-456B-BB35-CD839CBB07C7}" type="pres">
      <dgm:prSet presAssocID="{D30C9C82-5F73-4D59-B9B3-E229F741FA6F}" presName="compNode" presStyleCnt="0"/>
      <dgm:spPr/>
    </dgm:pt>
    <dgm:pt modelId="{5B50CB7B-9099-49D3-ABC7-125DCA43CCD9}" type="pres">
      <dgm:prSet presAssocID="{D30C9C82-5F73-4D59-B9B3-E229F741FA6F}" presName="aNode" presStyleLbl="bgShp" presStyleIdx="2" presStyleCnt="7"/>
      <dgm:spPr/>
      <dgm:t>
        <a:bodyPr/>
        <a:lstStyle/>
        <a:p>
          <a:endParaRPr lang="en-ZA"/>
        </a:p>
      </dgm:t>
    </dgm:pt>
    <dgm:pt modelId="{F458E3B3-8840-443F-A49D-0A54B25C98B1}" type="pres">
      <dgm:prSet presAssocID="{D30C9C82-5F73-4D59-B9B3-E229F741FA6F}" presName="textNode" presStyleLbl="bgShp" presStyleIdx="2" presStyleCnt="7"/>
      <dgm:spPr/>
      <dgm:t>
        <a:bodyPr/>
        <a:lstStyle/>
        <a:p>
          <a:endParaRPr lang="en-ZA"/>
        </a:p>
      </dgm:t>
    </dgm:pt>
    <dgm:pt modelId="{72E0329F-54E8-4B50-B239-4C9E64591AD9}" type="pres">
      <dgm:prSet presAssocID="{D30C9C82-5F73-4D59-B9B3-E229F741FA6F}" presName="compChildNode" presStyleCnt="0"/>
      <dgm:spPr/>
    </dgm:pt>
    <dgm:pt modelId="{47CA0823-EB26-4EDA-8963-0AF2F4876C61}" type="pres">
      <dgm:prSet presAssocID="{D30C9C82-5F73-4D59-B9B3-E229F741FA6F}" presName="theInnerList" presStyleCnt="0"/>
      <dgm:spPr/>
    </dgm:pt>
    <dgm:pt modelId="{249765C8-CC0F-4DDC-B32D-FF11D3CE524B}" type="pres">
      <dgm:prSet presAssocID="{F0CA0E10-7139-48FD-8EB1-D4F68DC4AA7F}" presName="childNode" presStyleLbl="node1" presStyleIdx="4" presStyleCnt="17">
        <dgm:presLayoutVars>
          <dgm:bulletEnabled val="1"/>
        </dgm:presLayoutVars>
      </dgm:prSet>
      <dgm:spPr/>
      <dgm:t>
        <a:bodyPr/>
        <a:lstStyle/>
        <a:p>
          <a:endParaRPr lang="en-ZA"/>
        </a:p>
      </dgm:t>
    </dgm:pt>
    <dgm:pt modelId="{FB5B6F87-6F37-4CB7-A644-8719F3CB97D7}" type="pres">
      <dgm:prSet presAssocID="{F0CA0E10-7139-48FD-8EB1-D4F68DC4AA7F}" presName="aSpace2" presStyleCnt="0"/>
      <dgm:spPr/>
    </dgm:pt>
    <dgm:pt modelId="{EE6345ED-3193-4965-B027-753BC17F330C}" type="pres">
      <dgm:prSet presAssocID="{FFD0F89A-3A7D-4756-BA0C-B4ABDDDA4973}" presName="childNode" presStyleLbl="node1" presStyleIdx="5" presStyleCnt="17">
        <dgm:presLayoutVars>
          <dgm:bulletEnabled val="1"/>
        </dgm:presLayoutVars>
      </dgm:prSet>
      <dgm:spPr/>
      <dgm:t>
        <a:bodyPr/>
        <a:lstStyle/>
        <a:p>
          <a:endParaRPr lang="en-ZA"/>
        </a:p>
      </dgm:t>
    </dgm:pt>
    <dgm:pt modelId="{6D6BFCF2-541F-4A47-BA2F-7965F17EB154}" type="pres">
      <dgm:prSet presAssocID="{FFD0F89A-3A7D-4756-BA0C-B4ABDDDA4973}" presName="aSpace2" presStyleCnt="0"/>
      <dgm:spPr/>
    </dgm:pt>
    <dgm:pt modelId="{BBE0F8DF-F1F5-484B-A322-1D87BFF1EEA2}" type="pres">
      <dgm:prSet presAssocID="{F0D26355-3560-4939-B819-6DAEBEE51EC2}" presName="childNode" presStyleLbl="node1" presStyleIdx="6" presStyleCnt="17">
        <dgm:presLayoutVars>
          <dgm:bulletEnabled val="1"/>
        </dgm:presLayoutVars>
      </dgm:prSet>
      <dgm:spPr/>
      <dgm:t>
        <a:bodyPr/>
        <a:lstStyle/>
        <a:p>
          <a:endParaRPr lang="en-ZA"/>
        </a:p>
      </dgm:t>
    </dgm:pt>
    <dgm:pt modelId="{FB52E1CA-8C3D-4B66-8D19-38C54D414ABC}" type="pres">
      <dgm:prSet presAssocID="{F0D26355-3560-4939-B819-6DAEBEE51EC2}" presName="aSpace2" presStyleCnt="0"/>
      <dgm:spPr/>
    </dgm:pt>
    <dgm:pt modelId="{6FA7BD4B-2A7F-4B03-A6CF-7D42A901B3DF}" type="pres">
      <dgm:prSet presAssocID="{F86B7B88-BC1E-4B34-BEE3-F87AD121C771}" presName="childNode" presStyleLbl="node1" presStyleIdx="7" presStyleCnt="17">
        <dgm:presLayoutVars>
          <dgm:bulletEnabled val="1"/>
        </dgm:presLayoutVars>
      </dgm:prSet>
      <dgm:spPr/>
      <dgm:t>
        <a:bodyPr/>
        <a:lstStyle/>
        <a:p>
          <a:endParaRPr lang="en-ZA"/>
        </a:p>
      </dgm:t>
    </dgm:pt>
    <dgm:pt modelId="{158AA582-B218-4FAD-BD5F-5AED00F0B5BC}" type="pres">
      <dgm:prSet presAssocID="{D30C9C82-5F73-4D59-B9B3-E229F741FA6F}" presName="aSpace" presStyleCnt="0"/>
      <dgm:spPr/>
    </dgm:pt>
    <dgm:pt modelId="{8EE21A3A-F697-40B4-9E62-3E79931CB1F1}" type="pres">
      <dgm:prSet presAssocID="{FBCEEB1D-63C6-4FAA-BAC3-833F14A4CCDC}" presName="compNode" presStyleCnt="0"/>
      <dgm:spPr/>
    </dgm:pt>
    <dgm:pt modelId="{1B2FE6FB-C396-4AA0-ABFE-9C4999842100}" type="pres">
      <dgm:prSet presAssocID="{FBCEEB1D-63C6-4FAA-BAC3-833F14A4CCDC}" presName="aNode" presStyleLbl="bgShp" presStyleIdx="3" presStyleCnt="7" custScaleX="86029"/>
      <dgm:spPr/>
      <dgm:t>
        <a:bodyPr/>
        <a:lstStyle/>
        <a:p>
          <a:endParaRPr lang="en-ZA"/>
        </a:p>
      </dgm:t>
    </dgm:pt>
    <dgm:pt modelId="{8F4D1F32-D145-48B3-89EE-AAAEF625A831}" type="pres">
      <dgm:prSet presAssocID="{FBCEEB1D-63C6-4FAA-BAC3-833F14A4CCDC}" presName="textNode" presStyleLbl="bgShp" presStyleIdx="3" presStyleCnt="7"/>
      <dgm:spPr/>
      <dgm:t>
        <a:bodyPr/>
        <a:lstStyle/>
        <a:p>
          <a:endParaRPr lang="en-ZA"/>
        </a:p>
      </dgm:t>
    </dgm:pt>
    <dgm:pt modelId="{BAAD9377-E77F-49B4-BD92-E395877022A4}" type="pres">
      <dgm:prSet presAssocID="{FBCEEB1D-63C6-4FAA-BAC3-833F14A4CCDC}" presName="compChildNode" presStyleCnt="0"/>
      <dgm:spPr/>
    </dgm:pt>
    <dgm:pt modelId="{C8E53E91-B139-4280-AE06-25C45AE66ECD}" type="pres">
      <dgm:prSet presAssocID="{FBCEEB1D-63C6-4FAA-BAC3-833F14A4CCDC}" presName="theInnerList" presStyleCnt="0"/>
      <dgm:spPr/>
    </dgm:pt>
    <dgm:pt modelId="{DBF014A0-DCD6-417F-8C70-D5C348D15348}" type="pres">
      <dgm:prSet presAssocID="{9B6169E3-7C2C-4A74-AA51-40489E6F977D}" presName="childNode" presStyleLbl="node1" presStyleIdx="8" presStyleCnt="17" custScaleX="77358">
        <dgm:presLayoutVars>
          <dgm:bulletEnabled val="1"/>
        </dgm:presLayoutVars>
      </dgm:prSet>
      <dgm:spPr/>
      <dgm:t>
        <a:bodyPr/>
        <a:lstStyle/>
        <a:p>
          <a:endParaRPr lang="en-ZA"/>
        </a:p>
      </dgm:t>
    </dgm:pt>
    <dgm:pt modelId="{A74F47E3-5139-4EDC-8406-0A4A4A90D225}" type="pres">
      <dgm:prSet presAssocID="{FBCEEB1D-63C6-4FAA-BAC3-833F14A4CCDC}" presName="aSpace" presStyleCnt="0"/>
      <dgm:spPr/>
    </dgm:pt>
    <dgm:pt modelId="{0D358515-F30A-4DE4-9E8A-551956CF4643}" type="pres">
      <dgm:prSet presAssocID="{2292C262-BBAC-447E-8D05-6E2FE511E939}" presName="compNode" presStyleCnt="0"/>
      <dgm:spPr/>
    </dgm:pt>
    <dgm:pt modelId="{AF937107-0827-42A9-B184-8883DFD4B64D}" type="pres">
      <dgm:prSet presAssocID="{2292C262-BBAC-447E-8D05-6E2FE511E939}" presName="aNode" presStyleLbl="bgShp" presStyleIdx="4" presStyleCnt="7"/>
      <dgm:spPr/>
      <dgm:t>
        <a:bodyPr/>
        <a:lstStyle/>
        <a:p>
          <a:endParaRPr lang="en-ZA"/>
        </a:p>
      </dgm:t>
    </dgm:pt>
    <dgm:pt modelId="{C7693DB3-BBC2-4034-B496-1D6CAC56E69C}" type="pres">
      <dgm:prSet presAssocID="{2292C262-BBAC-447E-8D05-6E2FE511E939}" presName="textNode" presStyleLbl="bgShp" presStyleIdx="4" presStyleCnt="7"/>
      <dgm:spPr/>
      <dgm:t>
        <a:bodyPr/>
        <a:lstStyle/>
        <a:p>
          <a:endParaRPr lang="en-ZA"/>
        </a:p>
      </dgm:t>
    </dgm:pt>
    <dgm:pt modelId="{9AB07468-59E6-4BA5-A529-E87B99715A30}" type="pres">
      <dgm:prSet presAssocID="{2292C262-BBAC-447E-8D05-6E2FE511E939}" presName="compChildNode" presStyleCnt="0"/>
      <dgm:spPr/>
    </dgm:pt>
    <dgm:pt modelId="{46B36D66-173B-46F7-BBF4-283411E5F93F}" type="pres">
      <dgm:prSet presAssocID="{2292C262-BBAC-447E-8D05-6E2FE511E939}" presName="theInnerList" presStyleCnt="0"/>
      <dgm:spPr/>
    </dgm:pt>
    <dgm:pt modelId="{F4AFCBC2-4C1C-4AEB-84B4-A03AE0786D26}" type="pres">
      <dgm:prSet presAssocID="{E8DB2AEC-DAB5-4622-B063-D2B95BDF8979}" presName="childNode" presStyleLbl="node1" presStyleIdx="9" presStyleCnt="17">
        <dgm:presLayoutVars>
          <dgm:bulletEnabled val="1"/>
        </dgm:presLayoutVars>
      </dgm:prSet>
      <dgm:spPr/>
      <dgm:t>
        <a:bodyPr/>
        <a:lstStyle/>
        <a:p>
          <a:endParaRPr lang="en-ZA"/>
        </a:p>
      </dgm:t>
    </dgm:pt>
    <dgm:pt modelId="{A82D9B19-FD9D-4001-8F6A-738AA1FCA513}" type="pres">
      <dgm:prSet presAssocID="{E8DB2AEC-DAB5-4622-B063-D2B95BDF8979}" presName="aSpace2" presStyleCnt="0"/>
      <dgm:spPr/>
    </dgm:pt>
    <dgm:pt modelId="{BE79E4FC-92B6-4536-B7A3-63F83851D068}" type="pres">
      <dgm:prSet presAssocID="{E05F83EB-56F9-4ABB-8536-C6FCE9E25488}" presName="childNode" presStyleLbl="node1" presStyleIdx="10" presStyleCnt="17" custScaleY="167946">
        <dgm:presLayoutVars>
          <dgm:bulletEnabled val="1"/>
        </dgm:presLayoutVars>
      </dgm:prSet>
      <dgm:spPr/>
      <dgm:t>
        <a:bodyPr/>
        <a:lstStyle/>
        <a:p>
          <a:endParaRPr lang="en-ZA"/>
        </a:p>
      </dgm:t>
    </dgm:pt>
    <dgm:pt modelId="{6D5ADCFC-4EC3-4397-8A3C-D25E14E2FD62}" type="pres">
      <dgm:prSet presAssocID="{E05F83EB-56F9-4ABB-8536-C6FCE9E25488}" presName="aSpace2" presStyleCnt="0"/>
      <dgm:spPr/>
    </dgm:pt>
    <dgm:pt modelId="{BD025101-D367-499F-8418-013BCB686C8A}" type="pres">
      <dgm:prSet presAssocID="{99417997-26E1-423C-9A94-8AF5B7FDF58B}" presName="childNode" presStyleLbl="node1" presStyleIdx="11" presStyleCnt="17" custScaleY="146667">
        <dgm:presLayoutVars>
          <dgm:bulletEnabled val="1"/>
        </dgm:presLayoutVars>
      </dgm:prSet>
      <dgm:spPr/>
      <dgm:t>
        <a:bodyPr/>
        <a:lstStyle/>
        <a:p>
          <a:endParaRPr lang="en-ZA"/>
        </a:p>
      </dgm:t>
    </dgm:pt>
    <dgm:pt modelId="{2D9162EB-7D40-4F8E-BE65-58E2DD62D414}" type="pres">
      <dgm:prSet presAssocID="{99417997-26E1-423C-9A94-8AF5B7FDF58B}" presName="aSpace2" presStyleCnt="0"/>
      <dgm:spPr/>
    </dgm:pt>
    <dgm:pt modelId="{384DDC0C-5B39-431C-9F9B-A8073332EB27}" type="pres">
      <dgm:prSet presAssocID="{EED235E5-BF71-4A43-832B-B79797918672}" presName="childNode" presStyleLbl="node1" presStyleIdx="12" presStyleCnt="17">
        <dgm:presLayoutVars>
          <dgm:bulletEnabled val="1"/>
        </dgm:presLayoutVars>
      </dgm:prSet>
      <dgm:spPr/>
      <dgm:t>
        <a:bodyPr/>
        <a:lstStyle/>
        <a:p>
          <a:endParaRPr lang="en-ZA"/>
        </a:p>
      </dgm:t>
    </dgm:pt>
    <dgm:pt modelId="{8EC4BFF7-FE69-46AE-9E6C-B7737580E0B7}" type="pres">
      <dgm:prSet presAssocID="{EED235E5-BF71-4A43-832B-B79797918672}" presName="aSpace2" presStyleCnt="0"/>
      <dgm:spPr/>
    </dgm:pt>
    <dgm:pt modelId="{0E6B7384-501B-46FD-8E09-4E78F54894DA}" type="pres">
      <dgm:prSet presAssocID="{19BA518D-EF82-49F7-BBF5-EDB1D8FB2F8B}" presName="childNode" presStyleLbl="node1" presStyleIdx="13" presStyleCnt="17">
        <dgm:presLayoutVars>
          <dgm:bulletEnabled val="1"/>
        </dgm:presLayoutVars>
      </dgm:prSet>
      <dgm:spPr/>
      <dgm:t>
        <a:bodyPr/>
        <a:lstStyle/>
        <a:p>
          <a:endParaRPr lang="en-ZA"/>
        </a:p>
      </dgm:t>
    </dgm:pt>
    <dgm:pt modelId="{2F315909-323B-4A81-BED9-EDFB3539EAD7}" type="pres">
      <dgm:prSet presAssocID="{19BA518D-EF82-49F7-BBF5-EDB1D8FB2F8B}" presName="aSpace2" presStyleCnt="0"/>
      <dgm:spPr/>
    </dgm:pt>
    <dgm:pt modelId="{973E830E-476B-40AE-8A45-31DF1D31CDE6}" type="pres">
      <dgm:prSet presAssocID="{D9476758-41A1-48D2-8370-ECB147A81598}" presName="childNode" presStyleLbl="node1" presStyleIdx="14" presStyleCnt="17">
        <dgm:presLayoutVars>
          <dgm:bulletEnabled val="1"/>
        </dgm:presLayoutVars>
      </dgm:prSet>
      <dgm:spPr/>
      <dgm:t>
        <a:bodyPr/>
        <a:lstStyle/>
        <a:p>
          <a:endParaRPr lang="en-ZA"/>
        </a:p>
      </dgm:t>
    </dgm:pt>
    <dgm:pt modelId="{77F98899-4A4B-46D8-A621-9A5F2C1057A6}" type="pres">
      <dgm:prSet presAssocID="{2292C262-BBAC-447E-8D05-6E2FE511E939}" presName="aSpace" presStyleCnt="0"/>
      <dgm:spPr/>
    </dgm:pt>
    <dgm:pt modelId="{E81A4509-3E96-4215-9E38-6B6348C6F6CA}" type="pres">
      <dgm:prSet presAssocID="{F017A1AA-7527-4400-AB0B-7AF5BC65D34C}" presName="compNode" presStyleCnt="0"/>
      <dgm:spPr/>
    </dgm:pt>
    <dgm:pt modelId="{0CF2835B-9784-45D0-9C90-F5415B4EEA05}" type="pres">
      <dgm:prSet presAssocID="{F017A1AA-7527-4400-AB0B-7AF5BC65D34C}" presName="aNode" presStyleLbl="bgShp" presStyleIdx="5" presStyleCnt="7"/>
      <dgm:spPr/>
      <dgm:t>
        <a:bodyPr/>
        <a:lstStyle/>
        <a:p>
          <a:endParaRPr lang="en-ZA"/>
        </a:p>
      </dgm:t>
    </dgm:pt>
    <dgm:pt modelId="{EE52DEDD-3D08-4DE8-84D4-F9AE08122327}" type="pres">
      <dgm:prSet presAssocID="{F017A1AA-7527-4400-AB0B-7AF5BC65D34C}" presName="textNode" presStyleLbl="bgShp" presStyleIdx="5" presStyleCnt="7"/>
      <dgm:spPr/>
      <dgm:t>
        <a:bodyPr/>
        <a:lstStyle/>
        <a:p>
          <a:endParaRPr lang="en-ZA"/>
        </a:p>
      </dgm:t>
    </dgm:pt>
    <dgm:pt modelId="{6F46A81B-080A-416A-844E-37A5276B610F}" type="pres">
      <dgm:prSet presAssocID="{F017A1AA-7527-4400-AB0B-7AF5BC65D34C}" presName="compChildNode" presStyleCnt="0"/>
      <dgm:spPr/>
    </dgm:pt>
    <dgm:pt modelId="{7AC7C61A-C6B7-4967-A71B-91F40D36E316}" type="pres">
      <dgm:prSet presAssocID="{F017A1AA-7527-4400-AB0B-7AF5BC65D34C}" presName="theInnerList" presStyleCnt="0"/>
      <dgm:spPr/>
    </dgm:pt>
    <dgm:pt modelId="{5C52F22C-DAA4-4F53-8502-AF95C6576DF8}" type="pres">
      <dgm:prSet presAssocID="{142A9A7E-D5B0-4665-9767-C7E08D21D8B8}" presName="childNode" presStyleLbl="node1" presStyleIdx="15" presStyleCnt="17">
        <dgm:presLayoutVars>
          <dgm:bulletEnabled val="1"/>
        </dgm:presLayoutVars>
      </dgm:prSet>
      <dgm:spPr/>
      <dgm:t>
        <a:bodyPr/>
        <a:lstStyle/>
        <a:p>
          <a:endParaRPr lang="en-ZA"/>
        </a:p>
      </dgm:t>
    </dgm:pt>
    <dgm:pt modelId="{61CEFA67-CB4F-4F7B-9A4C-7C11F985C4EB}" type="pres">
      <dgm:prSet presAssocID="{F017A1AA-7527-4400-AB0B-7AF5BC65D34C}" presName="aSpace" presStyleCnt="0"/>
      <dgm:spPr/>
    </dgm:pt>
    <dgm:pt modelId="{8349CAFC-79E0-416A-9769-B8279223F6EC}" type="pres">
      <dgm:prSet presAssocID="{D7B85C29-CD8D-4FA2-A0CB-82661CA1B500}" presName="compNode" presStyleCnt="0"/>
      <dgm:spPr/>
    </dgm:pt>
    <dgm:pt modelId="{656A4936-BEF3-48DF-8B92-F03421E8A3DE}" type="pres">
      <dgm:prSet presAssocID="{D7B85C29-CD8D-4FA2-A0CB-82661CA1B500}" presName="aNode" presStyleLbl="bgShp" presStyleIdx="6" presStyleCnt="7"/>
      <dgm:spPr/>
      <dgm:t>
        <a:bodyPr/>
        <a:lstStyle/>
        <a:p>
          <a:endParaRPr lang="en-ZA"/>
        </a:p>
      </dgm:t>
    </dgm:pt>
    <dgm:pt modelId="{9B849F78-7E73-4888-9825-8511E0FE3A37}" type="pres">
      <dgm:prSet presAssocID="{D7B85C29-CD8D-4FA2-A0CB-82661CA1B500}" presName="textNode" presStyleLbl="bgShp" presStyleIdx="6" presStyleCnt="7"/>
      <dgm:spPr/>
      <dgm:t>
        <a:bodyPr/>
        <a:lstStyle/>
        <a:p>
          <a:endParaRPr lang="en-ZA"/>
        </a:p>
      </dgm:t>
    </dgm:pt>
    <dgm:pt modelId="{08DAF80B-7D14-487C-9455-72C2A207CB0D}" type="pres">
      <dgm:prSet presAssocID="{D7B85C29-CD8D-4FA2-A0CB-82661CA1B500}" presName="compChildNode" presStyleCnt="0"/>
      <dgm:spPr/>
    </dgm:pt>
    <dgm:pt modelId="{ABF87ED5-9B85-450A-832C-D46F4946252F}" type="pres">
      <dgm:prSet presAssocID="{D7B85C29-CD8D-4FA2-A0CB-82661CA1B500}" presName="theInnerList" presStyleCnt="0"/>
      <dgm:spPr/>
    </dgm:pt>
    <dgm:pt modelId="{AABF6AFF-0CA1-48E4-BDAF-5041C006F122}" type="pres">
      <dgm:prSet presAssocID="{C306DF72-2098-4602-88D9-4911316BE5D2}" presName="childNode" presStyleLbl="node1" presStyleIdx="16" presStyleCnt="17">
        <dgm:presLayoutVars>
          <dgm:bulletEnabled val="1"/>
        </dgm:presLayoutVars>
      </dgm:prSet>
      <dgm:spPr/>
      <dgm:t>
        <a:bodyPr/>
        <a:lstStyle/>
        <a:p>
          <a:endParaRPr lang="en-ZA"/>
        </a:p>
      </dgm:t>
    </dgm:pt>
  </dgm:ptLst>
  <dgm:cxnLst>
    <dgm:cxn modelId="{2EA86137-226B-4C27-8E7A-ABB6A330BD23}" type="presOf" srcId="{FFD0F89A-3A7D-4756-BA0C-B4ABDDDA4973}" destId="{EE6345ED-3193-4965-B027-753BC17F330C}" srcOrd="0" destOrd="0" presId="urn:microsoft.com/office/officeart/2005/8/layout/lProcess2"/>
    <dgm:cxn modelId="{0F52C477-55FE-4371-9C37-B5663021D9CF}" srcId="{FBCEEB1D-63C6-4FAA-BAC3-833F14A4CCDC}" destId="{9B6169E3-7C2C-4A74-AA51-40489E6F977D}" srcOrd="0" destOrd="0" parTransId="{F1B4E79C-EA2E-45D2-A6C4-FA43FF0A569D}" sibTransId="{2CB13A43-B0AC-4B3B-AC62-DACE11C7CE6F}"/>
    <dgm:cxn modelId="{BD0C137D-73B4-4D5B-A769-87ABC137AABD}" type="presOf" srcId="{99417997-26E1-423C-9A94-8AF5B7FDF58B}" destId="{BD025101-D367-499F-8418-013BCB686C8A}" srcOrd="0" destOrd="0" presId="urn:microsoft.com/office/officeart/2005/8/layout/lProcess2"/>
    <dgm:cxn modelId="{D0F8CA07-8CC1-4519-B194-BA7E1237B54E}" type="presOf" srcId="{AAC0F72F-F0BD-4D73-8D1C-6EB83F18885D}" destId="{8C7B915C-82B8-4116-8E92-FA84D3401B04}" srcOrd="0" destOrd="0" presId="urn:microsoft.com/office/officeart/2005/8/layout/lProcess2"/>
    <dgm:cxn modelId="{21FF46AB-96E2-4268-BDD3-E3C7959A7759}" type="presOf" srcId="{113DA095-5452-435F-AA7B-FAC458BB8D4C}" destId="{75F72EC7-A214-4FC2-8112-2BFCCF8B6826}" srcOrd="0" destOrd="0" presId="urn:microsoft.com/office/officeart/2005/8/layout/lProcess2"/>
    <dgm:cxn modelId="{A11E8B17-E610-48A1-82FA-74114D5B7D7C}" srcId="{D7B85C29-CD8D-4FA2-A0CB-82661CA1B500}" destId="{C306DF72-2098-4602-88D9-4911316BE5D2}" srcOrd="0" destOrd="0" parTransId="{56459E09-0BA8-4903-BFB9-6591AFADABBD}" sibTransId="{5E6A3D1C-3778-4DD5-8BC0-16C9EA493757}"/>
    <dgm:cxn modelId="{419EF23B-A6FF-4AAF-84DA-2D9956F2F18C}" type="presOf" srcId="{07A320B2-817A-4A40-8A35-3FB929D5E65E}" destId="{995D5F5A-FFEE-4498-818A-B62E041DFD04}" srcOrd="0" destOrd="0" presId="urn:microsoft.com/office/officeart/2005/8/layout/lProcess2"/>
    <dgm:cxn modelId="{991408F1-5F5D-4372-9682-B599809060D5}" srcId="{7CE73B2F-FAFD-4EEE-A9FF-F6D4F373E706}" destId="{FBCEEB1D-63C6-4FAA-BAC3-833F14A4CCDC}" srcOrd="3" destOrd="0" parTransId="{08789181-01B1-434A-898C-A4D4E2884DF7}" sibTransId="{7A6D933C-730A-4CEF-9846-5F567273BACA}"/>
    <dgm:cxn modelId="{21FF2FBD-2C43-42A7-8C50-07C515D928D9}" type="presOf" srcId="{19BA518D-EF82-49F7-BBF5-EDB1D8FB2F8B}" destId="{0E6B7384-501B-46FD-8E09-4E78F54894DA}" srcOrd="0" destOrd="0" presId="urn:microsoft.com/office/officeart/2005/8/layout/lProcess2"/>
    <dgm:cxn modelId="{1F4E0139-133C-4912-B151-1FCC9D35FEA2}" type="presOf" srcId="{D30C9C82-5F73-4D59-B9B3-E229F741FA6F}" destId="{5B50CB7B-9099-49D3-ABC7-125DCA43CCD9}" srcOrd="0" destOrd="0" presId="urn:microsoft.com/office/officeart/2005/8/layout/lProcess2"/>
    <dgm:cxn modelId="{15E751F7-0822-4222-903A-894DB64C6858}" type="presOf" srcId="{F017A1AA-7527-4400-AB0B-7AF5BC65D34C}" destId="{0CF2835B-9784-45D0-9C90-F5415B4EEA05}" srcOrd="0" destOrd="0" presId="urn:microsoft.com/office/officeart/2005/8/layout/lProcess2"/>
    <dgm:cxn modelId="{329A0E90-0217-496D-BD8C-39E9308E37F6}" type="presOf" srcId="{C306DF72-2098-4602-88D9-4911316BE5D2}" destId="{AABF6AFF-0CA1-48E4-BDAF-5041C006F122}" srcOrd="0" destOrd="0" presId="urn:microsoft.com/office/officeart/2005/8/layout/lProcess2"/>
    <dgm:cxn modelId="{E8B9DAEF-FAEB-428B-BF58-9A8BB18566F2}" srcId="{2292C262-BBAC-447E-8D05-6E2FE511E939}" destId="{EED235E5-BF71-4A43-832B-B79797918672}" srcOrd="3" destOrd="0" parTransId="{64F05E4B-C736-40F5-A30E-8B6EBA7D5E35}" sibTransId="{91C2F76F-E189-42AA-A00E-0EB8A4E5E13D}"/>
    <dgm:cxn modelId="{A4264F76-9DDD-471A-8234-AB5FF98E2AA2}" srcId="{0DE8DE8A-0884-4410-AFA9-9664481B5571}" destId="{AAC0F72F-F0BD-4D73-8D1C-6EB83F18885D}" srcOrd="1" destOrd="0" parTransId="{E2EA11E9-0BB6-4C43-AF3A-E07D0D5A1883}" sibTransId="{2E9CB886-6BF4-4EB1-99B8-6F3A0B4A35A2}"/>
    <dgm:cxn modelId="{A92C5AA6-BB78-4C9B-901E-5B6C42FF38A3}" type="presOf" srcId="{F017A1AA-7527-4400-AB0B-7AF5BC65D34C}" destId="{EE52DEDD-3D08-4DE8-84D4-F9AE08122327}" srcOrd="1" destOrd="0" presId="urn:microsoft.com/office/officeart/2005/8/layout/lProcess2"/>
    <dgm:cxn modelId="{AEFAABA7-64DC-4294-89C0-9BC59A6B7305}" type="presOf" srcId="{0DE8DE8A-0884-4410-AFA9-9664481B5571}" destId="{B423EEEF-7E0C-4065-8F0A-7BE9E962D0A4}" srcOrd="0" destOrd="0" presId="urn:microsoft.com/office/officeart/2005/8/layout/lProcess2"/>
    <dgm:cxn modelId="{572896E1-4FF4-4B35-8034-EDDF3362766C}" srcId="{2292C262-BBAC-447E-8D05-6E2FE511E939}" destId="{E8DB2AEC-DAB5-4622-B063-D2B95BDF8979}" srcOrd="0" destOrd="0" parTransId="{161300D1-F12F-409B-B2D8-0DC857967E5B}" sibTransId="{2763ED47-DBDB-4B9B-B4D4-BACA2BEBAC98}"/>
    <dgm:cxn modelId="{CD747BAE-A440-4BF0-97C6-0AF6C02A8314}" type="presOf" srcId="{2292C262-BBAC-447E-8D05-6E2FE511E939}" destId="{C7693DB3-BBC2-4034-B496-1D6CAC56E69C}" srcOrd="1" destOrd="0" presId="urn:microsoft.com/office/officeart/2005/8/layout/lProcess2"/>
    <dgm:cxn modelId="{08012A99-CEAA-4775-A384-C1F403D256B6}" type="presOf" srcId="{1734ACA3-103F-4DB8-B73C-4461B2906292}" destId="{3B34FDFE-936D-483A-A038-77B8C191A391}" srcOrd="0" destOrd="0" presId="urn:microsoft.com/office/officeart/2005/8/layout/lProcess2"/>
    <dgm:cxn modelId="{64FD350C-A646-468B-A7B1-8C1359870F27}" type="presOf" srcId="{2292C262-BBAC-447E-8D05-6E2FE511E939}" destId="{AF937107-0827-42A9-B184-8883DFD4B64D}" srcOrd="0" destOrd="0" presId="urn:microsoft.com/office/officeart/2005/8/layout/lProcess2"/>
    <dgm:cxn modelId="{2FC85364-B354-4009-8890-4D3134A5B609}" srcId="{2292C262-BBAC-447E-8D05-6E2FE511E939}" destId="{D9476758-41A1-48D2-8370-ECB147A81598}" srcOrd="5" destOrd="0" parTransId="{99DC9EED-2222-408A-A10A-CB6370949CFB}" sibTransId="{C7DA5C7B-39CF-42AD-9A2D-9E1A6E710B9F}"/>
    <dgm:cxn modelId="{C4669746-0EA2-4E3A-B194-53EB0437CCD1}" type="presOf" srcId="{F0CA0E10-7139-48FD-8EB1-D4F68DC4AA7F}" destId="{249765C8-CC0F-4DDC-B32D-FF11D3CE524B}" srcOrd="0" destOrd="0" presId="urn:microsoft.com/office/officeart/2005/8/layout/lProcess2"/>
    <dgm:cxn modelId="{96449F33-C749-43AA-A6E3-E1937F11440A}" type="presOf" srcId="{F86B7B88-BC1E-4B34-BEE3-F87AD121C771}" destId="{6FA7BD4B-2A7F-4B03-A6CF-7D42A901B3DF}" srcOrd="0" destOrd="0" presId="urn:microsoft.com/office/officeart/2005/8/layout/lProcess2"/>
    <dgm:cxn modelId="{D17E1FED-9AA0-4718-8959-7D84D1CEAA15}" type="presOf" srcId="{E8DB2AEC-DAB5-4622-B063-D2B95BDF8979}" destId="{F4AFCBC2-4C1C-4AEB-84B4-A03AE0786D26}" srcOrd="0" destOrd="0" presId="urn:microsoft.com/office/officeart/2005/8/layout/lProcess2"/>
    <dgm:cxn modelId="{D4C37C7D-EC63-49E3-BE78-CEA777B2CF2A}" type="presOf" srcId="{F0D26355-3560-4939-B819-6DAEBEE51EC2}" destId="{BBE0F8DF-F1F5-484B-A322-1D87BFF1EEA2}" srcOrd="0" destOrd="0" presId="urn:microsoft.com/office/officeart/2005/8/layout/lProcess2"/>
    <dgm:cxn modelId="{EF769624-304D-42D1-AA0A-EE2D2D9CCB9D}" srcId="{D30C9C82-5F73-4D59-B9B3-E229F741FA6F}" destId="{FFD0F89A-3A7D-4756-BA0C-B4ABDDDA4973}" srcOrd="1" destOrd="0" parTransId="{2E7C6E17-DE6E-4014-8058-A49709337206}" sibTransId="{540DB1B5-0304-44CF-AFD2-CB18648F6F3C}"/>
    <dgm:cxn modelId="{8645382B-5C53-424A-98C2-B96FE08A5ED5}" srcId="{7CE73B2F-FAFD-4EEE-A9FF-F6D4F373E706}" destId="{113DA095-5452-435F-AA7B-FAC458BB8D4C}" srcOrd="0" destOrd="0" parTransId="{E31D0E47-44FC-4AE4-9A0A-AEA0EA75B572}" sibTransId="{BC43D459-43C0-4F28-A88F-E13599987487}"/>
    <dgm:cxn modelId="{EDDD1665-E48F-454D-9F64-FBF0B4248A3F}" srcId="{7CE73B2F-FAFD-4EEE-A9FF-F6D4F373E706}" destId="{D7B85C29-CD8D-4FA2-A0CB-82661CA1B500}" srcOrd="6" destOrd="0" parTransId="{D9652F9C-188A-4EB8-883D-DFB6FE5C0F7E}" sibTransId="{842222B3-6131-439F-9A46-F726BF78B079}"/>
    <dgm:cxn modelId="{1C77347D-65D4-475A-816B-1A65464F7A73}" type="presOf" srcId="{D30C9C82-5F73-4D59-B9B3-E229F741FA6F}" destId="{F458E3B3-8840-443F-A49D-0A54B25C98B1}" srcOrd="1" destOrd="0" presId="urn:microsoft.com/office/officeart/2005/8/layout/lProcess2"/>
    <dgm:cxn modelId="{86C1261A-E23B-4FF8-AA28-153A60874D52}" srcId="{113DA095-5452-435F-AA7B-FAC458BB8D4C}" destId="{CC29C4EA-9AA3-4411-A5B6-ABA351373323}" srcOrd="1" destOrd="0" parTransId="{E3552424-08D6-4F15-A1EB-B5C10BCB6405}" sibTransId="{B10B48D8-D0EC-448A-AD60-D6C3705E92C2}"/>
    <dgm:cxn modelId="{7B62909F-8803-4A6A-BBB1-A562F6E547C0}" srcId="{2292C262-BBAC-447E-8D05-6E2FE511E939}" destId="{19BA518D-EF82-49F7-BBF5-EDB1D8FB2F8B}" srcOrd="4" destOrd="0" parTransId="{FBFC98F5-342B-45C3-BB1A-952A788D6786}" sibTransId="{870145F5-56C8-45F3-9C24-A0E08267E89B}"/>
    <dgm:cxn modelId="{E83D6BFF-9D62-40D8-999C-48A4A990AB0A}" srcId="{D30C9C82-5F73-4D59-B9B3-E229F741FA6F}" destId="{F0CA0E10-7139-48FD-8EB1-D4F68DC4AA7F}" srcOrd="0" destOrd="0" parTransId="{05B39971-795A-4714-AA50-D06E27350C61}" sibTransId="{B089E659-ADCA-4F3D-9E9C-0E8A293F1B27}"/>
    <dgm:cxn modelId="{9EF6133A-9925-4C1D-BE0D-68D0F6850C5F}" srcId="{2292C262-BBAC-447E-8D05-6E2FE511E939}" destId="{99417997-26E1-423C-9A94-8AF5B7FDF58B}" srcOrd="2" destOrd="0" parTransId="{7D7CE723-6043-45E3-9637-9DD7C35779B8}" sibTransId="{451E1812-5B68-4795-AC01-E84ADFA7BB12}"/>
    <dgm:cxn modelId="{F8F5FE7D-7EEE-4CB3-A290-E4C46FBB5311}" type="presOf" srcId="{0DE8DE8A-0884-4410-AFA9-9664481B5571}" destId="{BD9F3F95-002F-44A9-A237-DD1201CCC13B}" srcOrd="1" destOrd="0" presId="urn:microsoft.com/office/officeart/2005/8/layout/lProcess2"/>
    <dgm:cxn modelId="{1CD9DA1E-2FDA-4B07-823E-34A693F9B939}" srcId="{2292C262-BBAC-447E-8D05-6E2FE511E939}" destId="{E05F83EB-56F9-4ABB-8536-C6FCE9E25488}" srcOrd="1" destOrd="0" parTransId="{2120629D-9742-4864-A9AB-F63668CF8C33}" sibTransId="{BC62097C-AC41-468F-BA48-93D7DA3E98F8}"/>
    <dgm:cxn modelId="{01E87EEB-7A05-469E-99EF-4500867FF535}" srcId="{7CE73B2F-FAFD-4EEE-A9FF-F6D4F373E706}" destId="{2292C262-BBAC-447E-8D05-6E2FE511E939}" srcOrd="4" destOrd="0" parTransId="{A99CA399-1D50-41DB-BA00-6FA8A46119E0}" sibTransId="{398EC6CD-F506-414F-8B10-D770D9200DC7}"/>
    <dgm:cxn modelId="{215A5EB3-94D6-4FD9-B99D-4FE59EF0F22C}" type="presOf" srcId="{FBCEEB1D-63C6-4FAA-BAC3-833F14A4CCDC}" destId="{8F4D1F32-D145-48B3-89EE-AAAEF625A831}" srcOrd="1" destOrd="0" presId="urn:microsoft.com/office/officeart/2005/8/layout/lProcess2"/>
    <dgm:cxn modelId="{CD0BA729-366C-4DA5-A452-B2E56A304F91}" type="presOf" srcId="{EED235E5-BF71-4A43-832B-B79797918672}" destId="{384DDC0C-5B39-431C-9F9B-A8073332EB27}" srcOrd="0" destOrd="0" presId="urn:microsoft.com/office/officeart/2005/8/layout/lProcess2"/>
    <dgm:cxn modelId="{7DA2A203-C257-450B-B4A3-5C2EB1A161DA}" type="presOf" srcId="{E05F83EB-56F9-4ABB-8536-C6FCE9E25488}" destId="{BE79E4FC-92B6-4536-B7A3-63F83851D068}" srcOrd="0" destOrd="0" presId="urn:microsoft.com/office/officeart/2005/8/layout/lProcess2"/>
    <dgm:cxn modelId="{859A6BBE-D3C9-4332-BA98-B211EB83C8C3}" srcId="{0DE8DE8A-0884-4410-AFA9-9664481B5571}" destId="{07A320B2-817A-4A40-8A35-3FB929D5E65E}" srcOrd="0" destOrd="0" parTransId="{C8D9C16C-7E42-42A8-9F02-D91B92632D00}" sibTransId="{90226AF9-5EA2-4FFF-BC1B-8A5A054F2A6D}"/>
    <dgm:cxn modelId="{D347F332-8E42-477C-858F-7D2F6021D356}" srcId="{D30C9C82-5F73-4D59-B9B3-E229F741FA6F}" destId="{F0D26355-3560-4939-B819-6DAEBEE51EC2}" srcOrd="2" destOrd="0" parTransId="{203F0298-FA97-427F-8CDC-2ED98DCA9DD2}" sibTransId="{693E77F5-3541-49BB-929F-31D70CEBEA98}"/>
    <dgm:cxn modelId="{14EAE25E-3A90-44FA-9983-C9E591ACA0BA}" srcId="{7CE73B2F-FAFD-4EEE-A9FF-F6D4F373E706}" destId="{0DE8DE8A-0884-4410-AFA9-9664481B5571}" srcOrd="1" destOrd="0" parTransId="{71B102B8-9C4B-4AA1-8CB5-FC934F7222BC}" sibTransId="{DCA1C4F9-08AF-4DC7-A94B-0A0464A55DCC}"/>
    <dgm:cxn modelId="{BD019E92-2F6B-424C-864A-BD6C52C5B6C7}" srcId="{F017A1AA-7527-4400-AB0B-7AF5BC65D34C}" destId="{142A9A7E-D5B0-4665-9767-C7E08D21D8B8}" srcOrd="0" destOrd="0" parTransId="{3CFA3A69-0376-4A8D-81B9-5085D7B8CD15}" sibTransId="{AEC2CA67-8BE9-4474-A244-2C3BD37F9EC8}"/>
    <dgm:cxn modelId="{068D8CAC-56E2-4884-B2DA-565A89CB5DFC}" type="presOf" srcId="{9B6169E3-7C2C-4A74-AA51-40489E6F977D}" destId="{DBF014A0-DCD6-417F-8C70-D5C348D15348}" srcOrd="0" destOrd="0" presId="urn:microsoft.com/office/officeart/2005/8/layout/lProcess2"/>
    <dgm:cxn modelId="{7847F67D-394C-4E64-9B9D-DD2173655A8A}" type="presOf" srcId="{113DA095-5452-435F-AA7B-FAC458BB8D4C}" destId="{9BC95D67-8633-425D-A6CB-B1E2A40B6885}" srcOrd="1" destOrd="0" presId="urn:microsoft.com/office/officeart/2005/8/layout/lProcess2"/>
    <dgm:cxn modelId="{76A51581-9964-4D74-ADD5-D1C1ACC5C39A}" srcId="{D30C9C82-5F73-4D59-B9B3-E229F741FA6F}" destId="{F86B7B88-BC1E-4B34-BEE3-F87AD121C771}" srcOrd="3" destOrd="0" parTransId="{4E768E85-D7E3-4F1D-BBE6-0EC3DC45C190}" sibTransId="{78A863A9-5026-45A7-A174-B5413CEBBB25}"/>
    <dgm:cxn modelId="{C9C265D7-4404-41E7-B32E-88A4F05D703E}" type="presOf" srcId="{7CE73B2F-FAFD-4EEE-A9FF-F6D4F373E706}" destId="{25C34C51-DD44-4CF7-9093-8E431A21B64C}" srcOrd="0" destOrd="0" presId="urn:microsoft.com/office/officeart/2005/8/layout/lProcess2"/>
    <dgm:cxn modelId="{6CD8F53E-B55D-4A22-A765-A1888F7C4D59}" type="presOf" srcId="{FBCEEB1D-63C6-4FAA-BAC3-833F14A4CCDC}" destId="{1B2FE6FB-C396-4AA0-ABFE-9C4999842100}" srcOrd="0" destOrd="0" presId="urn:microsoft.com/office/officeart/2005/8/layout/lProcess2"/>
    <dgm:cxn modelId="{FD625979-1EF8-4F30-9DC8-14E54C2753EE}" type="presOf" srcId="{CC29C4EA-9AA3-4411-A5B6-ABA351373323}" destId="{17912C79-9C45-49FE-97C9-D285DD9CFB45}" srcOrd="0" destOrd="0" presId="urn:microsoft.com/office/officeart/2005/8/layout/lProcess2"/>
    <dgm:cxn modelId="{51BE7B21-DA91-4429-B6A4-499D698C4142}" type="presOf" srcId="{142A9A7E-D5B0-4665-9767-C7E08D21D8B8}" destId="{5C52F22C-DAA4-4F53-8502-AF95C6576DF8}" srcOrd="0" destOrd="0" presId="urn:microsoft.com/office/officeart/2005/8/layout/lProcess2"/>
    <dgm:cxn modelId="{2171BED5-3B6F-4219-BFBC-81276370264C}" type="presOf" srcId="{D9476758-41A1-48D2-8370-ECB147A81598}" destId="{973E830E-476B-40AE-8A45-31DF1D31CDE6}" srcOrd="0" destOrd="0" presId="urn:microsoft.com/office/officeart/2005/8/layout/lProcess2"/>
    <dgm:cxn modelId="{5F3238B8-36D5-45A7-9A30-EFC9411815B4}" srcId="{7CE73B2F-FAFD-4EEE-A9FF-F6D4F373E706}" destId="{F017A1AA-7527-4400-AB0B-7AF5BC65D34C}" srcOrd="5" destOrd="0" parTransId="{59431206-509F-4839-A34C-C1FB9561BD49}" sibTransId="{8C9A555C-B2D9-4148-95BF-75F64481B10C}"/>
    <dgm:cxn modelId="{0AB86B1E-BD4B-44C9-9891-3893F431CA0D}" srcId="{7CE73B2F-FAFD-4EEE-A9FF-F6D4F373E706}" destId="{D30C9C82-5F73-4D59-B9B3-E229F741FA6F}" srcOrd="2" destOrd="0" parTransId="{65CFCADE-B126-49FE-93E5-95A98E25A73A}" sibTransId="{B3307AB8-2739-4523-B9B0-FFD77925BB40}"/>
    <dgm:cxn modelId="{E9EBC4E6-0835-4B29-B4C7-CE1D9A5A0E6D}" srcId="{113DA095-5452-435F-AA7B-FAC458BB8D4C}" destId="{1734ACA3-103F-4DB8-B73C-4461B2906292}" srcOrd="0" destOrd="0" parTransId="{90473797-7122-4780-B5C7-374FFE89A446}" sibTransId="{DAADA45B-56BE-46D4-926F-61C1A02B4C15}"/>
    <dgm:cxn modelId="{EC239A23-901D-485E-8166-76C092167B63}" type="presOf" srcId="{D7B85C29-CD8D-4FA2-A0CB-82661CA1B500}" destId="{656A4936-BEF3-48DF-8B92-F03421E8A3DE}" srcOrd="0" destOrd="0" presId="urn:microsoft.com/office/officeart/2005/8/layout/lProcess2"/>
    <dgm:cxn modelId="{1DF48040-3263-4228-9DEB-97925CDDF028}" type="presOf" srcId="{D7B85C29-CD8D-4FA2-A0CB-82661CA1B500}" destId="{9B849F78-7E73-4888-9825-8511E0FE3A37}" srcOrd="1" destOrd="0" presId="urn:microsoft.com/office/officeart/2005/8/layout/lProcess2"/>
    <dgm:cxn modelId="{D039B058-D52C-4638-A978-56670AE2B8F7}" type="presParOf" srcId="{25C34C51-DD44-4CF7-9093-8E431A21B64C}" destId="{41E61EFC-DE92-4069-9BB0-5750A196C60C}" srcOrd="0" destOrd="0" presId="urn:microsoft.com/office/officeart/2005/8/layout/lProcess2"/>
    <dgm:cxn modelId="{5668CD50-631A-4774-BBB6-0780304FDB15}" type="presParOf" srcId="{41E61EFC-DE92-4069-9BB0-5750A196C60C}" destId="{75F72EC7-A214-4FC2-8112-2BFCCF8B6826}" srcOrd="0" destOrd="0" presId="urn:microsoft.com/office/officeart/2005/8/layout/lProcess2"/>
    <dgm:cxn modelId="{BAA75700-90C7-4F06-A427-A4A256F4136F}" type="presParOf" srcId="{41E61EFC-DE92-4069-9BB0-5750A196C60C}" destId="{9BC95D67-8633-425D-A6CB-B1E2A40B6885}" srcOrd="1" destOrd="0" presId="urn:microsoft.com/office/officeart/2005/8/layout/lProcess2"/>
    <dgm:cxn modelId="{278696AE-6663-4047-BE2F-BFB794659160}" type="presParOf" srcId="{41E61EFC-DE92-4069-9BB0-5750A196C60C}" destId="{6FF7FCAE-AA24-4A9C-A3D4-8D8C8C5B5519}" srcOrd="2" destOrd="0" presId="urn:microsoft.com/office/officeart/2005/8/layout/lProcess2"/>
    <dgm:cxn modelId="{D3566CD3-762C-43A2-9DAC-24B5A8662256}" type="presParOf" srcId="{6FF7FCAE-AA24-4A9C-A3D4-8D8C8C5B5519}" destId="{914B2803-74F9-4516-8EB9-0ED031387988}" srcOrd="0" destOrd="0" presId="urn:microsoft.com/office/officeart/2005/8/layout/lProcess2"/>
    <dgm:cxn modelId="{7ACC26C2-610F-41AD-880D-334C2ED88FE1}" type="presParOf" srcId="{914B2803-74F9-4516-8EB9-0ED031387988}" destId="{3B34FDFE-936D-483A-A038-77B8C191A391}" srcOrd="0" destOrd="0" presId="urn:microsoft.com/office/officeart/2005/8/layout/lProcess2"/>
    <dgm:cxn modelId="{48C56465-51EF-4907-A172-96D692BA9B64}" type="presParOf" srcId="{914B2803-74F9-4516-8EB9-0ED031387988}" destId="{6A05FFFE-189A-4AF4-AC15-5CE0B1831ED1}" srcOrd="1" destOrd="0" presId="urn:microsoft.com/office/officeart/2005/8/layout/lProcess2"/>
    <dgm:cxn modelId="{5FB66E7C-31B6-40FF-A570-909656288A9A}" type="presParOf" srcId="{914B2803-74F9-4516-8EB9-0ED031387988}" destId="{17912C79-9C45-49FE-97C9-D285DD9CFB45}" srcOrd="2" destOrd="0" presId="urn:microsoft.com/office/officeart/2005/8/layout/lProcess2"/>
    <dgm:cxn modelId="{AF4F71BB-1F76-4E90-B42D-CD1F2A51A49B}" type="presParOf" srcId="{25C34C51-DD44-4CF7-9093-8E431A21B64C}" destId="{2AAF9880-DEC7-42F6-A055-88307C3FB33D}" srcOrd="1" destOrd="0" presId="urn:microsoft.com/office/officeart/2005/8/layout/lProcess2"/>
    <dgm:cxn modelId="{5788CFA1-0EC1-4632-901F-ACE9E3FB96A7}" type="presParOf" srcId="{25C34C51-DD44-4CF7-9093-8E431A21B64C}" destId="{FBA55374-AA05-4E23-A02F-7ED88A254A1A}" srcOrd="2" destOrd="0" presId="urn:microsoft.com/office/officeart/2005/8/layout/lProcess2"/>
    <dgm:cxn modelId="{C86EB45D-9565-4AE8-84C2-72EDEA5F5F8F}" type="presParOf" srcId="{FBA55374-AA05-4E23-A02F-7ED88A254A1A}" destId="{B423EEEF-7E0C-4065-8F0A-7BE9E962D0A4}" srcOrd="0" destOrd="0" presId="urn:microsoft.com/office/officeart/2005/8/layout/lProcess2"/>
    <dgm:cxn modelId="{90D59E15-D187-473A-A726-18662DC0FCD9}" type="presParOf" srcId="{FBA55374-AA05-4E23-A02F-7ED88A254A1A}" destId="{BD9F3F95-002F-44A9-A237-DD1201CCC13B}" srcOrd="1" destOrd="0" presId="urn:microsoft.com/office/officeart/2005/8/layout/lProcess2"/>
    <dgm:cxn modelId="{E94DF60F-0F9B-44F5-BEEB-6092D9E7C0AD}" type="presParOf" srcId="{FBA55374-AA05-4E23-A02F-7ED88A254A1A}" destId="{334FD5FC-2142-4BFF-ABD7-BA0CD193C5EE}" srcOrd="2" destOrd="0" presId="urn:microsoft.com/office/officeart/2005/8/layout/lProcess2"/>
    <dgm:cxn modelId="{943A94B6-B8D2-4865-B05C-8C2B8644F6F5}" type="presParOf" srcId="{334FD5FC-2142-4BFF-ABD7-BA0CD193C5EE}" destId="{EF646CFA-9D0D-4B8A-900A-296C93D09BBE}" srcOrd="0" destOrd="0" presId="urn:microsoft.com/office/officeart/2005/8/layout/lProcess2"/>
    <dgm:cxn modelId="{538378C0-7865-4B93-8523-5C073AAF0D55}" type="presParOf" srcId="{EF646CFA-9D0D-4B8A-900A-296C93D09BBE}" destId="{995D5F5A-FFEE-4498-818A-B62E041DFD04}" srcOrd="0" destOrd="0" presId="urn:microsoft.com/office/officeart/2005/8/layout/lProcess2"/>
    <dgm:cxn modelId="{B46DEA7A-DE4D-4153-8147-5D76242EC0C3}" type="presParOf" srcId="{EF646CFA-9D0D-4B8A-900A-296C93D09BBE}" destId="{64C1376D-5A71-4022-8B1F-52A3F1FFF04C}" srcOrd="1" destOrd="0" presId="urn:microsoft.com/office/officeart/2005/8/layout/lProcess2"/>
    <dgm:cxn modelId="{75CCA7D8-42C8-42BA-962B-0906ED5A3131}" type="presParOf" srcId="{EF646CFA-9D0D-4B8A-900A-296C93D09BBE}" destId="{8C7B915C-82B8-4116-8E92-FA84D3401B04}" srcOrd="2" destOrd="0" presId="urn:microsoft.com/office/officeart/2005/8/layout/lProcess2"/>
    <dgm:cxn modelId="{0B9ABF5A-1D6E-4130-89B4-D8EB69374CB2}" type="presParOf" srcId="{25C34C51-DD44-4CF7-9093-8E431A21B64C}" destId="{435ED84E-9F11-469F-AFFD-7AEF74B954E2}" srcOrd="3" destOrd="0" presId="urn:microsoft.com/office/officeart/2005/8/layout/lProcess2"/>
    <dgm:cxn modelId="{6F5FE358-6C90-446D-A598-F8DC8794AC39}" type="presParOf" srcId="{25C34C51-DD44-4CF7-9093-8E431A21B64C}" destId="{BF461080-0B43-456B-BB35-CD839CBB07C7}" srcOrd="4" destOrd="0" presId="urn:microsoft.com/office/officeart/2005/8/layout/lProcess2"/>
    <dgm:cxn modelId="{D2BC3F77-6719-41C8-A073-BAE5692196A9}" type="presParOf" srcId="{BF461080-0B43-456B-BB35-CD839CBB07C7}" destId="{5B50CB7B-9099-49D3-ABC7-125DCA43CCD9}" srcOrd="0" destOrd="0" presId="urn:microsoft.com/office/officeart/2005/8/layout/lProcess2"/>
    <dgm:cxn modelId="{38DA978B-8D77-4C87-B067-DAA723A4DE69}" type="presParOf" srcId="{BF461080-0B43-456B-BB35-CD839CBB07C7}" destId="{F458E3B3-8840-443F-A49D-0A54B25C98B1}" srcOrd="1" destOrd="0" presId="urn:microsoft.com/office/officeart/2005/8/layout/lProcess2"/>
    <dgm:cxn modelId="{732BE04E-DA40-474F-A8A2-AA9E15299D9D}" type="presParOf" srcId="{BF461080-0B43-456B-BB35-CD839CBB07C7}" destId="{72E0329F-54E8-4B50-B239-4C9E64591AD9}" srcOrd="2" destOrd="0" presId="urn:microsoft.com/office/officeart/2005/8/layout/lProcess2"/>
    <dgm:cxn modelId="{BC1753D8-F789-4B5C-A0C2-97F281FAA836}" type="presParOf" srcId="{72E0329F-54E8-4B50-B239-4C9E64591AD9}" destId="{47CA0823-EB26-4EDA-8963-0AF2F4876C61}" srcOrd="0" destOrd="0" presId="urn:microsoft.com/office/officeart/2005/8/layout/lProcess2"/>
    <dgm:cxn modelId="{6F9B2D34-EB64-4AA2-95F0-ABD3530634C0}" type="presParOf" srcId="{47CA0823-EB26-4EDA-8963-0AF2F4876C61}" destId="{249765C8-CC0F-4DDC-B32D-FF11D3CE524B}" srcOrd="0" destOrd="0" presId="urn:microsoft.com/office/officeart/2005/8/layout/lProcess2"/>
    <dgm:cxn modelId="{9ED7F513-05BB-4B9B-95F9-3F7A1AA88E0F}" type="presParOf" srcId="{47CA0823-EB26-4EDA-8963-0AF2F4876C61}" destId="{FB5B6F87-6F37-4CB7-A644-8719F3CB97D7}" srcOrd="1" destOrd="0" presId="urn:microsoft.com/office/officeart/2005/8/layout/lProcess2"/>
    <dgm:cxn modelId="{30A71749-09CB-42D2-B1C6-1F323D51FAEB}" type="presParOf" srcId="{47CA0823-EB26-4EDA-8963-0AF2F4876C61}" destId="{EE6345ED-3193-4965-B027-753BC17F330C}" srcOrd="2" destOrd="0" presId="urn:microsoft.com/office/officeart/2005/8/layout/lProcess2"/>
    <dgm:cxn modelId="{ED2A4071-D38B-4744-A795-2DE40AA0C186}" type="presParOf" srcId="{47CA0823-EB26-4EDA-8963-0AF2F4876C61}" destId="{6D6BFCF2-541F-4A47-BA2F-7965F17EB154}" srcOrd="3" destOrd="0" presId="urn:microsoft.com/office/officeart/2005/8/layout/lProcess2"/>
    <dgm:cxn modelId="{FC66D7CA-C88E-493D-837F-2E8A9E18CABE}" type="presParOf" srcId="{47CA0823-EB26-4EDA-8963-0AF2F4876C61}" destId="{BBE0F8DF-F1F5-484B-A322-1D87BFF1EEA2}" srcOrd="4" destOrd="0" presId="urn:microsoft.com/office/officeart/2005/8/layout/lProcess2"/>
    <dgm:cxn modelId="{3D6BCB86-F7D2-4D43-8E44-BC969D9AEB4D}" type="presParOf" srcId="{47CA0823-EB26-4EDA-8963-0AF2F4876C61}" destId="{FB52E1CA-8C3D-4B66-8D19-38C54D414ABC}" srcOrd="5" destOrd="0" presId="urn:microsoft.com/office/officeart/2005/8/layout/lProcess2"/>
    <dgm:cxn modelId="{86DA0A7A-7A4F-4A67-BD70-AAFFB603C00E}" type="presParOf" srcId="{47CA0823-EB26-4EDA-8963-0AF2F4876C61}" destId="{6FA7BD4B-2A7F-4B03-A6CF-7D42A901B3DF}" srcOrd="6" destOrd="0" presId="urn:microsoft.com/office/officeart/2005/8/layout/lProcess2"/>
    <dgm:cxn modelId="{A0CD6F6D-D929-4E18-8FB7-0B48D09110DC}" type="presParOf" srcId="{25C34C51-DD44-4CF7-9093-8E431A21B64C}" destId="{158AA582-B218-4FAD-BD5F-5AED00F0B5BC}" srcOrd="5" destOrd="0" presId="urn:microsoft.com/office/officeart/2005/8/layout/lProcess2"/>
    <dgm:cxn modelId="{976F8EB1-6DA0-4151-A97E-A2098E05A96A}" type="presParOf" srcId="{25C34C51-DD44-4CF7-9093-8E431A21B64C}" destId="{8EE21A3A-F697-40B4-9E62-3E79931CB1F1}" srcOrd="6" destOrd="0" presId="urn:microsoft.com/office/officeart/2005/8/layout/lProcess2"/>
    <dgm:cxn modelId="{6688C779-B507-4F48-9426-FA5909E78252}" type="presParOf" srcId="{8EE21A3A-F697-40B4-9E62-3E79931CB1F1}" destId="{1B2FE6FB-C396-4AA0-ABFE-9C4999842100}" srcOrd="0" destOrd="0" presId="urn:microsoft.com/office/officeart/2005/8/layout/lProcess2"/>
    <dgm:cxn modelId="{50DDBAB2-7397-43E7-9943-D3FA6312C5A4}" type="presParOf" srcId="{8EE21A3A-F697-40B4-9E62-3E79931CB1F1}" destId="{8F4D1F32-D145-48B3-89EE-AAAEF625A831}" srcOrd="1" destOrd="0" presId="urn:microsoft.com/office/officeart/2005/8/layout/lProcess2"/>
    <dgm:cxn modelId="{FBC9E601-904B-4AE2-AB23-2CCF82830A18}" type="presParOf" srcId="{8EE21A3A-F697-40B4-9E62-3E79931CB1F1}" destId="{BAAD9377-E77F-49B4-BD92-E395877022A4}" srcOrd="2" destOrd="0" presId="urn:microsoft.com/office/officeart/2005/8/layout/lProcess2"/>
    <dgm:cxn modelId="{33B536F0-F58A-4628-8C43-D162BC10DA7E}" type="presParOf" srcId="{BAAD9377-E77F-49B4-BD92-E395877022A4}" destId="{C8E53E91-B139-4280-AE06-25C45AE66ECD}" srcOrd="0" destOrd="0" presId="urn:microsoft.com/office/officeart/2005/8/layout/lProcess2"/>
    <dgm:cxn modelId="{4569C29A-2078-4778-BA2A-21110DCD839C}" type="presParOf" srcId="{C8E53E91-B139-4280-AE06-25C45AE66ECD}" destId="{DBF014A0-DCD6-417F-8C70-D5C348D15348}" srcOrd="0" destOrd="0" presId="urn:microsoft.com/office/officeart/2005/8/layout/lProcess2"/>
    <dgm:cxn modelId="{9F1FC97C-88B9-43A5-AF45-23B85D9A733A}" type="presParOf" srcId="{25C34C51-DD44-4CF7-9093-8E431A21B64C}" destId="{A74F47E3-5139-4EDC-8406-0A4A4A90D225}" srcOrd="7" destOrd="0" presId="urn:microsoft.com/office/officeart/2005/8/layout/lProcess2"/>
    <dgm:cxn modelId="{6B14AA36-FEFB-4F01-8608-3077C22699EC}" type="presParOf" srcId="{25C34C51-DD44-4CF7-9093-8E431A21B64C}" destId="{0D358515-F30A-4DE4-9E8A-551956CF4643}" srcOrd="8" destOrd="0" presId="urn:microsoft.com/office/officeart/2005/8/layout/lProcess2"/>
    <dgm:cxn modelId="{23180D3C-049B-4F74-A64D-D52E670A68E0}" type="presParOf" srcId="{0D358515-F30A-4DE4-9E8A-551956CF4643}" destId="{AF937107-0827-42A9-B184-8883DFD4B64D}" srcOrd="0" destOrd="0" presId="urn:microsoft.com/office/officeart/2005/8/layout/lProcess2"/>
    <dgm:cxn modelId="{739148DC-CC8D-44BE-A8B4-9A3DC62D84AD}" type="presParOf" srcId="{0D358515-F30A-4DE4-9E8A-551956CF4643}" destId="{C7693DB3-BBC2-4034-B496-1D6CAC56E69C}" srcOrd="1" destOrd="0" presId="urn:microsoft.com/office/officeart/2005/8/layout/lProcess2"/>
    <dgm:cxn modelId="{BC7CB407-C677-4924-BA45-AABA3765F363}" type="presParOf" srcId="{0D358515-F30A-4DE4-9E8A-551956CF4643}" destId="{9AB07468-59E6-4BA5-A529-E87B99715A30}" srcOrd="2" destOrd="0" presId="urn:microsoft.com/office/officeart/2005/8/layout/lProcess2"/>
    <dgm:cxn modelId="{EBFDB101-3BAC-4815-AFC3-3E1D30D1EADF}" type="presParOf" srcId="{9AB07468-59E6-4BA5-A529-E87B99715A30}" destId="{46B36D66-173B-46F7-BBF4-283411E5F93F}" srcOrd="0" destOrd="0" presId="urn:microsoft.com/office/officeart/2005/8/layout/lProcess2"/>
    <dgm:cxn modelId="{BEB5BA88-2BD2-4EF4-8D30-3F0F0EEB3194}" type="presParOf" srcId="{46B36D66-173B-46F7-BBF4-283411E5F93F}" destId="{F4AFCBC2-4C1C-4AEB-84B4-A03AE0786D26}" srcOrd="0" destOrd="0" presId="urn:microsoft.com/office/officeart/2005/8/layout/lProcess2"/>
    <dgm:cxn modelId="{6A70C04C-A980-4A59-BCC5-A015AFDDFB68}" type="presParOf" srcId="{46B36D66-173B-46F7-BBF4-283411E5F93F}" destId="{A82D9B19-FD9D-4001-8F6A-738AA1FCA513}" srcOrd="1" destOrd="0" presId="urn:microsoft.com/office/officeart/2005/8/layout/lProcess2"/>
    <dgm:cxn modelId="{F8DE424F-5F30-40AF-9DD2-DBE887175522}" type="presParOf" srcId="{46B36D66-173B-46F7-BBF4-283411E5F93F}" destId="{BE79E4FC-92B6-4536-B7A3-63F83851D068}" srcOrd="2" destOrd="0" presId="urn:microsoft.com/office/officeart/2005/8/layout/lProcess2"/>
    <dgm:cxn modelId="{29F12833-DB0F-42D9-8A60-8D30923C8F3F}" type="presParOf" srcId="{46B36D66-173B-46F7-BBF4-283411E5F93F}" destId="{6D5ADCFC-4EC3-4397-8A3C-D25E14E2FD62}" srcOrd="3" destOrd="0" presId="urn:microsoft.com/office/officeart/2005/8/layout/lProcess2"/>
    <dgm:cxn modelId="{37EA49E1-FC00-4610-9BB4-F4EE41F55BCB}" type="presParOf" srcId="{46B36D66-173B-46F7-BBF4-283411E5F93F}" destId="{BD025101-D367-499F-8418-013BCB686C8A}" srcOrd="4" destOrd="0" presId="urn:microsoft.com/office/officeart/2005/8/layout/lProcess2"/>
    <dgm:cxn modelId="{2632687C-B7A7-42B1-8EC5-DB976409D113}" type="presParOf" srcId="{46B36D66-173B-46F7-BBF4-283411E5F93F}" destId="{2D9162EB-7D40-4F8E-BE65-58E2DD62D414}" srcOrd="5" destOrd="0" presId="urn:microsoft.com/office/officeart/2005/8/layout/lProcess2"/>
    <dgm:cxn modelId="{0D9CCD31-E866-4296-A694-A7B910D95AE1}" type="presParOf" srcId="{46B36D66-173B-46F7-BBF4-283411E5F93F}" destId="{384DDC0C-5B39-431C-9F9B-A8073332EB27}" srcOrd="6" destOrd="0" presId="urn:microsoft.com/office/officeart/2005/8/layout/lProcess2"/>
    <dgm:cxn modelId="{4CF4579E-BC41-42CF-BCE8-1DF9C7F81050}" type="presParOf" srcId="{46B36D66-173B-46F7-BBF4-283411E5F93F}" destId="{8EC4BFF7-FE69-46AE-9E6C-B7737580E0B7}" srcOrd="7" destOrd="0" presId="urn:microsoft.com/office/officeart/2005/8/layout/lProcess2"/>
    <dgm:cxn modelId="{364CFED3-80A0-43A3-BE41-50B8672B0275}" type="presParOf" srcId="{46B36D66-173B-46F7-BBF4-283411E5F93F}" destId="{0E6B7384-501B-46FD-8E09-4E78F54894DA}" srcOrd="8" destOrd="0" presId="urn:microsoft.com/office/officeart/2005/8/layout/lProcess2"/>
    <dgm:cxn modelId="{93D39DF7-2DE0-4808-BE48-EAE8A0BE16B7}" type="presParOf" srcId="{46B36D66-173B-46F7-BBF4-283411E5F93F}" destId="{2F315909-323B-4A81-BED9-EDFB3539EAD7}" srcOrd="9" destOrd="0" presId="urn:microsoft.com/office/officeart/2005/8/layout/lProcess2"/>
    <dgm:cxn modelId="{EE5A7F29-707B-4162-9D76-4A15DBF699C7}" type="presParOf" srcId="{46B36D66-173B-46F7-BBF4-283411E5F93F}" destId="{973E830E-476B-40AE-8A45-31DF1D31CDE6}" srcOrd="10" destOrd="0" presId="urn:microsoft.com/office/officeart/2005/8/layout/lProcess2"/>
    <dgm:cxn modelId="{0AB36CE4-BEBF-496B-A95F-C1785B1323B5}" type="presParOf" srcId="{25C34C51-DD44-4CF7-9093-8E431A21B64C}" destId="{77F98899-4A4B-46D8-A621-9A5F2C1057A6}" srcOrd="9" destOrd="0" presId="urn:microsoft.com/office/officeart/2005/8/layout/lProcess2"/>
    <dgm:cxn modelId="{8BBF7EC8-33E2-47D4-9D47-6ECDDBB6ED00}" type="presParOf" srcId="{25C34C51-DD44-4CF7-9093-8E431A21B64C}" destId="{E81A4509-3E96-4215-9E38-6B6348C6F6CA}" srcOrd="10" destOrd="0" presId="urn:microsoft.com/office/officeart/2005/8/layout/lProcess2"/>
    <dgm:cxn modelId="{3A88BFB6-D01C-46EF-BDA6-3B777B3F98E4}" type="presParOf" srcId="{E81A4509-3E96-4215-9E38-6B6348C6F6CA}" destId="{0CF2835B-9784-45D0-9C90-F5415B4EEA05}" srcOrd="0" destOrd="0" presId="urn:microsoft.com/office/officeart/2005/8/layout/lProcess2"/>
    <dgm:cxn modelId="{3139BF41-BF12-41DF-8971-86773524DACC}" type="presParOf" srcId="{E81A4509-3E96-4215-9E38-6B6348C6F6CA}" destId="{EE52DEDD-3D08-4DE8-84D4-F9AE08122327}" srcOrd="1" destOrd="0" presId="urn:microsoft.com/office/officeart/2005/8/layout/lProcess2"/>
    <dgm:cxn modelId="{6916945A-CD7D-4752-BF11-CB4AC5B0132D}" type="presParOf" srcId="{E81A4509-3E96-4215-9E38-6B6348C6F6CA}" destId="{6F46A81B-080A-416A-844E-37A5276B610F}" srcOrd="2" destOrd="0" presId="urn:microsoft.com/office/officeart/2005/8/layout/lProcess2"/>
    <dgm:cxn modelId="{D14F80D4-C6DF-4799-BFD8-8D79F04252B2}" type="presParOf" srcId="{6F46A81B-080A-416A-844E-37A5276B610F}" destId="{7AC7C61A-C6B7-4967-A71B-91F40D36E316}" srcOrd="0" destOrd="0" presId="urn:microsoft.com/office/officeart/2005/8/layout/lProcess2"/>
    <dgm:cxn modelId="{01D5D57F-2498-4737-8558-F756543CFC3F}" type="presParOf" srcId="{7AC7C61A-C6B7-4967-A71B-91F40D36E316}" destId="{5C52F22C-DAA4-4F53-8502-AF95C6576DF8}" srcOrd="0" destOrd="0" presId="urn:microsoft.com/office/officeart/2005/8/layout/lProcess2"/>
    <dgm:cxn modelId="{26E7EE8D-024A-4CF5-AC7E-A11A6241FD0F}" type="presParOf" srcId="{25C34C51-DD44-4CF7-9093-8E431A21B64C}" destId="{61CEFA67-CB4F-4F7B-9A4C-7C11F985C4EB}" srcOrd="11" destOrd="0" presId="urn:microsoft.com/office/officeart/2005/8/layout/lProcess2"/>
    <dgm:cxn modelId="{D659E055-644D-4E27-AF19-931BA6C2497B}" type="presParOf" srcId="{25C34C51-DD44-4CF7-9093-8E431A21B64C}" destId="{8349CAFC-79E0-416A-9769-B8279223F6EC}" srcOrd="12" destOrd="0" presId="urn:microsoft.com/office/officeart/2005/8/layout/lProcess2"/>
    <dgm:cxn modelId="{95C11D82-6C7B-473B-A356-3CA936BCD0B4}" type="presParOf" srcId="{8349CAFC-79E0-416A-9769-B8279223F6EC}" destId="{656A4936-BEF3-48DF-8B92-F03421E8A3DE}" srcOrd="0" destOrd="0" presId="urn:microsoft.com/office/officeart/2005/8/layout/lProcess2"/>
    <dgm:cxn modelId="{971BFBEF-5807-4FB2-99CD-3FFE4D74CDC7}" type="presParOf" srcId="{8349CAFC-79E0-416A-9769-B8279223F6EC}" destId="{9B849F78-7E73-4888-9825-8511E0FE3A37}" srcOrd="1" destOrd="0" presId="urn:microsoft.com/office/officeart/2005/8/layout/lProcess2"/>
    <dgm:cxn modelId="{4FC9A912-A6D0-4A98-9E29-080D3050542E}" type="presParOf" srcId="{8349CAFC-79E0-416A-9769-B8279223F6EC}" destId="{08DAF80B-7D14-487C-9455-72C2A207CB0D}" srcOrd="2" destOrd="0" presId="urn:microsoft.com/office/officeart/2005/8/layout/lProcess2"/>
    <dgm:cxn modelId="{79EA2658-F415-4847-BEC1-ED42FD2DCF1E}" type="presParOf" srcId="{08DAF80B-7D14-487C-9455-72C2A207CB0D}" destId="{ABF87ED5-9B85-450A-832C-D46F4946252F}" srcOrd="0" destOrd="0" presId="urn:microsoft.com/office/officeart/2005/8/layout/lProcess2"/>
    <dgm:cxn modelId="{48472611-F29A-4076-B80C-31D75205FD7C}" type="presParOf" srcId="{ABF87ED5-9B85-450A-832C-D46F4946252F}" destId="{AABF6AFF-0CA1-48E4-BDAF-5041C006F122}"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CE73B2F-FAFD-4EEE-A9FF-F6D4F373E706}"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113DA095-5452-435F-AA7B-FAC458BB8D4C}">
      <dgm:prSet phldrT="[Text]" custT="1"/>
      <dgm:spPr/>
      <dgm:t>
        <a:bodyPr/>
        <a:lstStyle/>
        <a:p>
          <a:r>
            <a:rPr lang="en-ZA" sz="1800" dirty="0"/>
            <a:t>Procurement Planning</a:t>
          </a:r>
          <a:endParaRPr lang="en-US" sz="1800" dirty="0"/>
        </a:p>
      </dgm:t>
    </dgm:pt>
    <dgm:pt modelId="{E31D0E47-44FC-4AE4-9A0A-AEA0EA75B572}" type="parTrans" cxnId="{8645382B-5C53-424A-98C2-B96FE08A5ED5}">
      <dgm:prSet/>
      <dgm:spPr/>
      <dgm:t>
        <a:bodyPr/>
        <a:lstStyle/>
        <a:p>
          <a:endParaRPr lang="en-US"/>
        </a:p>
      </dgm:t>
    </dgm:pt>
    <dgm:pt modelId="{BC43D459-43C0-4F28-A88F-E13599987487}" type="sibTrans" cxnId="{8645382B-5C53-424A-98C2-B96FE08A5ED5}">
      <dgm:prSet/>
      <dgm:spPr/>
      <dgm:t>
        <a:bodyPr/>
        <a:lstStyle/>
        <a:p>
          <a:endParaRPr lang="en-US"/>
        </a:p>
      </dgm:t>
    </dgm:pt>
    <dgm:pt modelId="{1734ACA3-103F-4DB8-B73C-4461B2906292}">
      <dgm:prSet phldrT="[Text]" custT="1"/>
      <dgm:spPr>
        <a:solidFill>
          <a:srgbClr val="00B050"/>
        </a:solidFill>
      </dgm:spPr>
      <dgm:t>
        <a:bodyPr/>
        <a:lstStyle/>
        <a:p>
          <a:r>
            <a:rPr lang="en-US" sz="1400" b="1" dirty="0">
              <a:solidFill>
                <a:schemeClr val="tx1"/>
              </a:solidFill>
            </a:rPr>
            <a:t>PMIS</a:t>
          </a:r>
        </a:p>
      </dgm:t>
    </dgm:pt>
    <dgm:pt modelId="{90473797-7122-4780-B5C7-374FFE89A446}" type="parTrans" cxnId="{E9EBC4E6-0835-4B29-B4C7-CE1D9A5A0E6D}">
      <dgm:prSet/>
      <dgm:spPr/>
      <dgm:t>
        <a:bodyPr/>
        <a:lstStyle/>
        <a:p>
          <a:endParaRPr lang="en-US"/>
        </a:p>
      </dgm:t>
    </dgm:pt>
    <dgm:pt modelId="{DAADA45B-56BE-46D4-926F-61C1A02B4C15}" type="sibTrans" cxnId="{E9EBC4E6-0835-4B29-B4C7-CE1D9A5A0E6D}">
      <dgm:prSet/>
      <dgm:spPr/>
      <dgm:t>
        <a:bodyPr/>
        <a:lstStyle/>
        <a:p>
          <a:endParaRPr lang="en-US"/>
        </a:p>
      </dgm:t>
    </dgm:pt>
    <dgm:pt modelId="{0DE8DE8A-0884-4410-AFA9-9664481B5571}">
      <dgm:prSet phldrT="[Text]" custT="1"/>
      <dgm:spPr/>
      <dgm:t>
        <a:bodyPr/>
        <a:lstStyle/>
        <a:p>
          <a:r>
            <a:rPr lang="en-ZA" sz="1800" dirty="0"/>
            <a:t>Movable Asset Management</a:t>
          </a:r>
          <a:endParaRPr lang="en-US" sz="1800" dirty="0"/>
        </a:p>
      </dgm:t>
    </dgm:pt>
    <dgm:pt modelId="{71B102B8-9C4B-4AA1-8CB5-FC934F7222BC}" type="parTrans" cxnId="{14EAE25E-3A90-44FA-9983-C9E591ACA0BA}">
      <dgm:prSet/>
      <dgm:spPr/>
      <dgm:t>
        <a:bodyPr/>
        <a:lstStyle/>
        <a:p>
          <a:endParaRPr lang="en-US"/>
        </a:p>
      </dgm:t>
    </dgm:pt>
    <dgm:pt modelId="{DCA1C4F9-08AF-4DC7-A94B-0A0464A55DCC}" type="sibTrans" cxnId="{14EAE25E-3A90-44FA-9983-C9E591ACA0BA}">
      <dgm:prSet/>
      <dgm:spPr/>
      <dgm:t>
        <a:bodyPr/>
        <a:lstStyle/>
        <a:p>
          <a:endParaRPr lang="en-US"/>
        </a:p>
      </dgm:t>
    </dgm:pt>
    <dgm:pt modelId="{D30C9C82-5F73-4D59-B9B3-E229F741FA6F}">
      <dgm:prSet phldrT="[Text]" custT="1"/>
      <dgm:spPr/>
      <dgm:t>
        <a:bodyPr/>
        <a:lstStyle/>
        <a:p>
          <a:r>
            <a:rPr lang="en-ZA" sz="1800" dirty="0"/>
            <a:t>Provisioning and Logistics</a:t>
          </a:r>
          <a:endParaRPr lang="en-US" sz="1800" dirty="0"/>
        </a:p>
      </dgm:t>
    </dgm:pt>
    <dgm:pt modelId="{65CFCADE-B126-49FE-93E5-95A98E25A73A}" type="parTrans" cxnId="{0AB86B1E-BD4B-44C9-9891-3893F431CA0D}">
      <dgm:prSet/>
      <dgm:spPr/>
      <dgm:t>
        <a:bodyPr/>
        <a:lstStyle/>
        <a:p>
          <a:endParaRPr lang="en-US"/>
        </a:p>
      </dgm:t>
    </dgm:pt>
    <dgm:pt modelId="{B3307AB8-2739-4523-B9B0-FFD77925BB40}" type="sibTrans" cxnId="{0AB86B1E-BD4B-44C9-9891-3893F431CA0D}">
      <dgm:prSet/>
      <dgm:spPr/>
      <dgm:t>
        <a:bodyPr/>
        <a:lstStyle/>
        <a:p>
          <a:endParaRPr lang="en-US"/>
        </a:p>
      </dgm:t>
    </dgm:pt>
    <dgm:pt modelId="{FBCEEB1D-63C6-4FAA-BAC3-833F14A4CCDC}">
      <dgm:prSet phldrT="[Text]" custT="1"/>
      <dgm:spPr/>
      <dgm:t>
        <a:bodyPr/>
        <a:lstStyle/>
        <a:p>
          <a:r>
            <a:rPr lang="en-ZA" sz="1800" dirty="0"/>
            <a:t>Quote Management (Demand and Acquisition)</a:t>
          </a:r>
          <a:endParaRPr lang="en-US" sz="1800" dirty="0"/>
        </a:p>
      </dgm:t>
    </dgm:pt>
    <dgm:pt modelId="{08789181-01B1-434A-898C-A4D4E2884DF7}" type="parTrans" cxnId="{991408F1-5F5D-4372-9682-B599809060D5}">
      <dgm:prSet/>
      <dgm:spPr/>
      <dgm:t>
        <a:bodyPr/>
        <a:lstStyle/>
        <a:p>
          <a:endParaRPr lang="en-US"/>
        </a:p>
      </dgm:t>
    </dgm:pt>
    <dgm:pt modelId="{7A6D933C-730A-4CEF-9846-5F567273BACA}" type="sibTrans" cxnId="{991408F1-5F5D-4372-9682-B599809060D5}">
      <dgm:prSet/>
      <dgm:spPr/>
      <dgm:t>
        <a:bodyPr/>
        <a:lstStyle/>
        <a:p>
          <a:endParaRPr lang="en-US"/>
        </a:p>
      </dgm:t>
    </dgm:pt>
    <dgm:pt modelId="{57C35D0C-7F92-4718-8A87-E171A93885C1}">
      <dgm:prSet phldrT="[Text]" custT="1"/>
      <dgm:spPr/>
      <dgm:t>
        <a:bodyPr/>
        <a:lstStyle/>
        <a:p>
          <a:r>
            <a:rPr lang="en-ZA" sz="1800" dirty="0"/>
            <a:t>Tender Management (Bid Administration)</a:t>
          </a:r>
          <a:endParaRPr lang="en-US" sz="1800" dirty="0"/>
        </a:p>
      </dgm:t>
    </dgm:pt>
    <dgm:pt modelId="{5767DDCA-F48C-4FDA-8498-70CEFBEFF091}" type="parTrans" cxnId="{FA7BF276-86A4-4D9F-BC22-7F3D57D1D831}">
      <dgm:prSet/>
      <dgm:spPr/>
      <dgm:t>
        <a:bodyPr/>
        <a:lstStyle/>
        <a:p>
          <a:endParaRPr lang="en-US"/>
        </a:p>
      </dgm:t>
    </dgm:pt>
    <dgm:pt modelId="{8E468EB9-6190-49FB-9DD9-CAD5851BE663}" type="sibTrans" cxnId="{FA7BF276-86A4-4D9F-BC22-7F3D57D1D831}">
      <dgm:prSet/>
      <dgm:spPr/>
      <dgm:t>
        <a:bodyPr/>
        <a:lstStyle/>
        <a:p>
          <a:endParaRPr lang="en-US"/>
        </a:p>
      </dgm:t>
    </dgm:pt>
    <dgm:pt modelId="{32B32922-F57F-425C-81C5-7B489134FD6F}">
      <dgm:prSet phldrT="[Text]" custT="1"/>
      <dgm:spPr/>
      <dgm:t>
        <a:bodyPr/>
        <a:lstStyle/>
        <a:p>
          <a:r>
            <a:rPr lang="en-ZA" sz="1400" b="1" dirty="0">
              <a:solidFill>
                <a:schemeClr val="tx1"/>
              </a:solidFill>
            </a:rPr>
            <a:t>Quotation Tracking System (TQS)</a:t>
          </a:r>
          <a:endParaRPr lang="en-US" sz="1400" b="1" dirty="0">
            <a:solidFill>
              <a:schemeClr val="tx1"/>
            </a:solidFill>
          </a:endParaRPr>
        </a:p>
      </dgm:t>
    </dgm:pt>
    <dgm:pt modelId="{FC2115F5-B2BA-4A53-94A6-60251C179B71}" type="parTrans" cxnId="{FABF8B7A-B8E5-41DD-83E5-DA75F41CD6D9}">
      <dgm:prSet/>
      <dgm:spPr/>
      <dgm:t>
        <a:bodyPr/>
        <a:lstStyle/>
        <a:p>
          <a:endParaRPr lang="en-US"/>
        </a:p>
      </dgm:t>
    </dgm:pt>
    <dgm:pt modelId="{35272A6A-4379-4409-87B8-BE93C16B6BD3}" type="sibTrans" cxnId="{FABF8B7A-B8E5-41DD-83E5-DA75F41CD6D9}">
      <dgm:prSet/>
      <dgm:spPr/>
      <dgm:t>
        <a:bodyPr/>
        <a:lstStyle/>
        <a:p>
          <a:endParaRPr lang="en-US"/>
        </a:p>
      </dgm:t>
    </dgm:pt>
    <dgm:pt modelId="{0B9FBEB6-F1D5-4CBB-8AB4-92C654D25F49}">
      <dgm:prSet phldrT="[Text]" custT="1"/>
      <dgm:spPr>
        <a:solidFill>
          <a:srgbClr val="00B050"/>
        </a:solidFill>
      </dgm:spPr>
      <dgm:t>
        <a:bodyPr/>
        <a:lstStyle/>
        <a:p>
          <a:r>
            <a:rPr lang="en-ZA" sz="1400" b="1" dirty="0">
              <a:solidFill>
                <a:schemeClr val="tx1"/>
              </a:solidFill>
            </a:rPr>
            <a:t>PMIS</a:t>
          </a:r>
          <a:endParaRPr lang="en-US" sz="1200" b="1" dirty="0">
            <a:solidFill>
              <a:schemeClr val="tx1"/>
            </a:solidFill>
          </a:endParaRPr>
        </a:p>
      </dgm:t>
    </dgm:pt>
    <dgm:pt modelId="{186CA2F9-9694-433A-82BE-63AFECB555C4}" type="parTrans" cxnId="{AD6D0465-7EA1-497F-900B-A1D9B6AE71ED}">
      <dgm:prSet/>
      <dgm:spPr/>
      <dgm:t>
        <a:bodyPr/>
        <a:lstStyle/>
        <a:p>
          <a:endParaRPr lang="en-US"/>
        </a:p>
      </dgm:t>
    </dgm:pt>
    <dgm:pt modelId="{6514BD0E-572C-418B-B162-CE4D383D7C7F}" type="sibTrans" cxnId="{AD6D0465-7EA1-497F-900B-A1D9B6AE71ED}">
      <dgm:prSet/>
      <dgm:spPr/>
      <dgm:t>
        <a:bodyPr/>
        <a:lstStyle/>
        <a:p>
          <a:endParaRPr lang="en-US"/>
        </a:p>
      </dgm:t>
    </dgm:pt>
    <dgm:pt modelId="{94B6E1D2-A2ED-43E3-8D7F-978E38182E5F}">
      <dgm:prSet phldrT="[Text]" custT="1"/>
      <dgm:spPr>
        <a:solidFill>
          <a:srgbClr val="FF9933"/>
        </a:solidFill>
      </dgm:spPr>
      <dgm:t>
        <a:bodyPr/>
        <a:lstStyle/>
        <a:p>
          <a:r>
            <a:rPr lang="en-US" sz="1400" b="1" dirty="0">
              <a:solidFill>
                <a:schemeClr val="tx1"/>
              </a:solidFill>
            </a:rPr>
            <a:t>SAGE</a:t>
          </a:r>
          <a:endParaRPr lang="en-US" sz="1200" b="1" dirty="0">
            <a:solidFill>
              <a:schemeClr val="tx1"/>
            </a:solidFill>
          </a:endParaRPr>
        </a:p>
      </dgm:t>
    </dgm:pt>
    <dgm:pt modelId="{A1551AF5-CC9E-4218-BCB8-895C3542F966}" type="parTrans" cxnId="{02CF4DE0-1724-403A-B27B-B2B1BFA777D7}">
      <dgm:prSet/>
      <dgm:spPr/>
      <dgm:t>
        <a:bodyPr/>
        <a:lstStyle/>
        <a:p>
          <a:endParaRPr lang="en-US"/>
        </a:p>
      </dgm:t>
    </dgm:pt>
    <dgm:pt modelId="{C6035D79-5A4C-4D40-9613-28CD6FBB3492}" type="sibTrans" cxnId="{02CF4DE0-1724-403A-B27B-B2B1BFA777D7}">
      <dgm:prSet/>
      <dgm:spPr/>
      <dgm:t>
        <a:bodyPr/>
        <a:lstStyle/>
        <a:p>
          <a:endParaRPr lang="en-US"/>
        </a:p>
      </dgm:t>
    </dgm:pt>
    <dgm:pt modelId="{9B7CDDD3-2ED4-47E9-B775-B2730C8E2DDC}">
      <dgm:prSet phldrT="[Text]" custT="1"/>
      <dgm:spPr/>
      <dgm:t>
        <a:bodyPr/>
        <a:lstStyle/>
        <a:p>
          <a:r>
            <a:rPr lang="en-US" sz="1400" b="1" dirty="0">
              <a:solidFill>
                <a:schemeClr val="tx1"/>
              </a:solidFill>
            </a:rPr>
            <a:t>Paper Trail System</a:t>
          </a:r>
        </a:p>
      </dgm:t>
    </dgm:pt>
    <dgm:pt modelId="{C6AE4155-F4AE-4D80-8D64-09388411F586}" type="parTrans" cxnId="{AAC0ED8C-5351-4860-898C-9258A1C58B19}">
      <dgm:prSet/>
      <dgm:spPr/>
      <dgm:t>
        <a:bodyPr/>
        <a:lstStyle/>
        <a:p>
          <a:endParaRPr lang="en-US"/>
        </a:p>
      </dgm:t>
    </dgm:pt>
    <dgm:pt modelId="{719036E2-2BFA-482C-8883-69B9FAD51B58}" type="sibTrans" cxnId="{AAC0ED8C-5351-4860-898C-9258A1C58B19}">
      <dgm:prSet/>
      <dgm:spPr/>
      <dgm:t>
        <a:bodyPr/>
        <a:lstStyle/>
        <a:p>
          <a:endParaRPr lang="en-US"/>
        </a:p>
      </dgm:t>
    </dgm:pt>
    <dgm:pt modelId="{BAD874C1-1142-4ED3-B550-F3F33608EE67}">
      <dgm:prSet phldrT="[Text]" custT="1"/>
      <dgm:spPr>
        <a:solidFill>
          <a:srgbClr val="F046D0"/>
        </a:solidFill>
      </dgm:spPr>
      <dgm:t>
        <a:bodyPr/>
        <a:lstStyle/>
        <a:p>
          <a:r>
            <a:rPr lang="en-US" sz="1400" b="1" dirty="0">
              <a:solidFill>
                <a:schemeClr val="tx1"/>
              </a:solidFill>
            </a:rPr>
            <a:t>Reapatala</a:t>
          </a:r>
        </a:p>
      </dgm:t>
    </dgm:pt>
    <dgm:pt modelId="{56B7A361-BA1D-4DB1-A855-3AD4B20062DE}" type="parTrans" cxnId="{006AA87F-4C83-49AE-B422-D313BBF316F0}">
      <dgm:prSet/>
      <dgm:spPr/>
      <dgm:t>
        <a:bodyPr/>
        <a:lstStyle/>
        <a:p>
          <a:endParaRPr lang="en-US"/>
        </a:p>
      </dgm:t>
    </dgm:pt>
    <dgm:pt modelId="{2A42392E-D2E7-4FA3-817F-3FD6FA8F2307}" type="sibTrans" cxnId="{006AA87F-4C83-49AE-B422-D313BBF316F0}">
      <dgm:prSet/>
      <dgm:spPr/>
      <dgm:t>
        <a:bodyPr/>
        <a:lstStyle/>
        <a:p>
          <a:endParaRPr lang="en-US"/>
        </a:p>
      </dgm:t>
    </dgm:pt>
    <dgm:pt modelId="{9086EE2F-CF56-4C6A-8C83-9463F00E52E9}">
      <dgm:prSet phldrT="[Text]" custT="1"/>
      <dgm:spPr/>
      <dgm:t>
        <a:bodyPr/>
        <a:lstStyle/>
        <a:p>
          <a:r>
            <a:rPr lang="en-US" sz="1400" b="1" dirty="0">
              <a:solidFill>
                <a:schemeClr val="tx1"/>
              </a:solidFill>
            </a:rPr>
            <a:t>TSM System</a:t>
          </a:r>
        </a:p>
      </dgm:t>
    </dgm:pt>
    <dgm:pt modelId="{DD4BA8B6-8E04-4ADE-9835-E113E55E5F71}" type="parTrans" cxnId="{B17832E6-9413-49F7-831D-A15F778E7437}">
      <dgm:prSet/>
      <dgm:spPr/>
      <dgm:t>
        <a:bodyPr/>
        <a:lstStyle/>
        <a:p>
          <a:endParaRPr lang="en-US"/>
        </a:p>
      </dgm:t>
    </dgm:pt>
    <dgm:pt modelId="{2C33B206-A233-4208-B1EA-655E664FFFD5}" type="sibTrans" cxnId="{B17832E6-9413-49F7-831D-A15F778E7437}">
      <dgm:prSet/>
      <dgm:spPr/>
      <dgm:t>
        <a:bodyPr/>
        <a:lstStyle/>
        <a:p>
          <a:endParaRPr lang="en-US"/>
        </a:p>
      </dgm:t>
    </dgm:pt>
    <dgm:pt modelId="{EEEEA0ED-1CD4-4FFB-A4BE-5EC46DE913FA}">
      <dgm:prSet phldrT="[Text]" custT="1"/>
      <dgm:spPr/>
      <dgm:t>
        <a:bodyPr/>
        <a:lstStyle/>
        <a:p>
          <a:r>
            <a:rPr lang="en-US" sz="1400" b="1" dirty="0">
              <a:solidFill>
                <a:schemeClr val="tx1"/>
              </a:solidFill>
            </a:rPr>
            <a:t>PERSAL</a:t>
          </a:r>
        </a:p>
      </dgm:t>
    </dgm:pt>
    <dgm:pt modelId="{8BAD4CD5-EE02-4EA8-A3F1-2C5C9507821E}" type="parTrans" cxnId="{D6DC3873-3575-40FE-A6B3-0A6141EDA3D8}">
      <dgm:prSet/>
      <dgm:spPr/>
      <dgm:t>
        <a:bodyPr/>
        <a:lstStyle/>
        <a:p>
          <a:endParaRPr lang="en-US"/>
        </a:p>
      </dgm:t>
    </dgm:pt>
    <dgm:pt modelId="{C8B3176C-15A9-4F34-9882-16E25962D470}" type="sibTrans" cxnId="{D6DC3873-3575-40FE-A6B3-0A6141EDA3D8}">
      <dgm:prSet/>
      <dgm:spPr/>
      <dgm:t>
        <a:bodyPr/>
        <a:lstStyle/>
        <a:p>
          <a:endParaRPr lang="en-US"/>
        </a:p>
      </dgm:t>
    </dgm:pt>
    <dgm:pt modelId="{BC4E3B2E-DA7B-4DF3-9A63-C41C8BFABFA7}">
      <dgm:prSet phldrT="[Text]" custT="1"/>
      <dgm:spPr>
        <a:solidFill>
          <a:schemeClr val="accent3"/>
        </a:solidFill>
      </dgm:spPr>
      <dgm:t>
        <a:bodyPr/>
        <a:lstStyle/>
        <a:p>
          <a:r>
            <a:rPr lang="en-US" sz="1400" b="1" dirty="0">
              <a:solidFill>
                <a:schemeClr val="tx1"/>
              </a:solidFill>
            </a:rPr>
            <a:t>Archibus</a:t>
          </a:r>
          <a:endParaRPr lang="en-US" sz="2200" b="1" dirty="0">
            <a:solidFill>
              <a:schemeClr val="tx1"/>
            </a:solidFill>
          </a:endParaRPr>
        </a:p>
      </dgm:t>
    </dgm:pt>
    <dgm:pt modelId="{843B0712-E810-42E0-8DA1-D5106ABF624B}" type="parTrans" cxnId="{FAF0EB47-F938-4EF1-A94F-DF6BF7721A63}">
      <dgm:prSet/>
      <dgm:spPr/>
      <dgm:t>
        <a:bodyPr/>
        <a:lstStyle/>
        <a:p>
          <a:endParaRPr lang="en-US"/>
        </a:p>
      </dgm:t>
    </dgm:pt>
    <dgm:pt modelId="{2F6FA54D-0CE7-4BF2-91B4-D981F6F5943E}" type="sibTrans" cxnId="{FAF0EB47-F938-4EF1-A94F-DF6BF7721A63}">
      <dgm:prSet/>
      <dgm:spPr/>
      <dgm:t>
        <a:bodyPr/>
        <a:lstStyle/>
        <a:p>
          <a:endParaRPr lang="en-US"/>
        </a:p>
      </dgm:t>
    </dgm:pt>
    <dgm:pt modelId="{540CDFAD-54A2-48DF-A2C9-A66437DB9DD6}">
      <dgm:prSet phldrT="[Text]" custT="1"/>
      <dgm:spPr>
        <a:solidFill>
          <a:srgbClr val="FF9933"/>
        </a:solidFill>
      </dgm:spPr>
      <dgm:t>
        <a:bodyPr/>
        <a:lstStyle/>
        <a:p>
          <a:r>
            <a:rPr lang="en-US" sz="1400" b="1" dirty="0">
              <a:solidFill>
                <a:schemeClr val="tx1"/>
              </a:solidFill>
            </a:rPr>
            <a:t>SAGE</a:t>
          </a:r>
          <a:endParaRPr lang="en-US" sz="2200" b="1" dirty="0">
            <a:solidFill>
              <a:schemeClr val="tx1"/>
            </a:solidFill>
          </a:endParaRPr>
        </a:p>
      </dgm:t>
    </dgm:pt>
    <dgm:pt modelId="{1C5284C6-C27C-4F9B-89B5-748D667F327B}" type="parTrans" cxnId="{67069E1F-D4E2-4A52-A7A9-BB3921405A39}">
      <dgm:prSet/>
      <dgm:spPr/>
      <dgm:t>
        <a:bodyPr/>
        <a:lstStyle/>
        <a:p>
          <a:endParaRPr lang="en-US"/>
        </a:p>
      </dgm:t>
    </dgm:pt>
    <dgm:pt modelId="{957C4C9B-0737-4F75-BACD-256C34F90166}" type="sibTrans" cxnId="{67069E1F-D4E2-4A52-A7A9-BB3921405A39}">
      <dgm:prSet/>
      <dgm:spPr/>
      <dgm:t>
        <a:bodyPr/>
        <a:lstStyle/>
        <a:p>
          <a:endParaRPr lang="en-US"/>
        </a:p>
      </dgm:t>
    </dgm:pt>
    <dgm:pt modelId="{92664F77-DA94-421A-8D3A-7E35BECC0873}">
      <dgm:prSet phldrT="[Text]" custT="1"/>
      <dgm:spPr/>
      <dgm:t>
        <a:bodyPr/>
        <a:lstStyle/>
        <a:p>
          <a:r>
            <a:rPr lang="en-ZA" sz="1400" b="1" dirty="0">
              <a:solidFill>
                <a:schemeClr val="tx1"/>
              </a:solidFill>
            </a:rPr>
            <a:t>Devolution</a:t>
          </a:r>
          <a:r>
            <a:rPr lang="en-ZA" sz="1200" b="1" dirty="0">
              <a:solidFill>
                <a:schemeClr val="tx1"/>
              </a:solidFill>
            </a:rPr>
            <a:t> </a:t>
          </a:r>
          <a:r>
            <a:rPr lang="en-ZA" sz="1400" b="1" dirty="0">
              <a:solidFill>
                <a:schemeClr val="tx1"/>
              </a:solidFill>
            </a:rPr>
            <a:t>System</a:t>
          </a:r>
          <a:endParaRPr lang="en-US" sz="1200" b="1" dirty="0">
            <a:solidFill>
              <a:schemeClr val="tx1"/>
            </a:solidFill>
          </a:endParaRPr>
        </a:p>
      </dgm:t>
    </dgm:pt>
    <dgm:pt modelId="{0E5A0366-F291-4799-B026-452F6C106B20}" type="parTrans" cxnId="{C5C2ED18-208D-41F0-B3B2-75517A71942D}">
      <dgm:prSet/>
      <dgm:spPr/>
      <dgm:t>
        <a:bodyPr/>
        <a:lstStyle/>
        <a:p>
          <a:endParaRPr lang="en-US"/>
        </a:p>
      </dgm:t>
    </dgm:pt>
    <dgm:pt modelId="{8F0A269E-1D63-4918-95F7-BFC70E5AF02A}" type="sibTrans" cxnId="{C5C2ED18-208D-41F0-B3B2-75517A71942D}">
      <dgm:prSet/>
      <dgm:spPr/>
      <dgm:t>
        <a:bodyPr/>
        <a:lstStyle/>
        <a:p>
          <a:endParaRPr lang="en-US"/>
        </a:p>
      </dgm:t>
    </dgm:pt>
    <dgm:pt modelId="{DE996173-CE5E-4B42-A5C6-F28968FCABCD}">
      <dgm:prSet phldrT="[Text]" custT="1"/>
      <dgm:spPr/>
      <dgm:t>
        <a:bodyPr/>
        <a:lstStyle/>
        <a:p>
          <a:r>
            <a:rPr lang="en-US" sz="1400" b="1" dirty="0">
              <a:solidFill>
                <a:schemeClr val="tx1"/>
              </a:solidFill>
            </a:rPr>
            <a:t>Supplier Verification System - </a:t>
          </a:r>
          <a:r>
            <a:rPr lang="en-ZA" sz="1400" b="1" dirty="0">
              <a:solidFill>
                <a:schemeClr val="tx1"/>
              </a:solidFill>
            </a:rPr>
            <a:t>CSD</a:t>
          </a:r>
          <a:endParaRPr lang="en-US" sz="1200" b="1" dirty="0">
            <a:solidFill>
              <a:schemeClr val="tx1"/>
            </a:solidFill>
          </a:endParaRPr>
        </a:p>
      </dgm:t>
    </dgm:pt>
    <dgm:pt modelId="{0FBFAC79-F806-4BA0-8770-A43752B86B59}" type="parTrans" cxnId="{7F7E30F3-B2AA-49C3-BDA2-4ECB48410D9F}">
      <dgm:prSet/>
      <dgm:spPr/>
      <dgm:t>
        <a:bodyPr/>
        <a:lstStyle/>
        <a:p>
          <a:endParaRPr lang="en-US"/>
        </a:p>
      </dgm:t>
    </dgm:pt>
    <dgm:pt modelId="{C03AAE05-FC11-4CA3-A100-7B2FAFA8906B}" type="sibTrans" cxnId="{7F7E30F3-B2AA-49C3-BDA2-4ECB48410D9F}">
      <dgm:prSet/>
      <dgm:spPr/>
      <dgm:t>
        <a:bodyPr/>
        <a:lstStyle/>
        <a:p>
          <a:endParaRPr lang="en-US"/>
        </a:p>
      </dgm:t>
    </dgm:pt>
    <dgm:pt modelId="{608E2AA8-364E-4E40-AA62-EC1721EDCE46}">
      <dgm:prSet phldrT="[Text]" custT="1"/>
      <dgm:spPr>
        <a:solidFill>
          <a:srgbClr val="92D050"/>
        </a:solidFill>
      </dgm:spPr>
      <dgm:t>
        <a:bodyPr/>
        <a:lstStyle/>
        <a:p>
          <a:r>
            <a:rPr lang="en-ZA" sz="1400" b="1" dirty="0">
              <a:solidFill>
                <a:schemeClr val="tx1"/>
              </a:solidFill>
            </a:rPr>
            <a:t>WCS</a:t>
          </a:r>
          <a:endParaRPr lang="en-US" sz="1200" b="1" dirty="0">
            <a:solidFill>
              <a:schemeClr val="tx1"/>
            </a:solidFill>
          </a:endParaRPr>
        </a:p>
      </dgm:t>
    </dgm:pt>
    <dgm:pt modelId="{084C1AAE-5062-4F54-88F9-D42530187CF6}" type="parTrans" cxnId="{A0799471-758C-4B05-A74A-25E3C5CD7479}">
      <dgm:prSet/>
      <dgm:spPr/>
      <dgm:t>
        <a:bodyPr/>
        <a:lstStyle/>
        <a:p>
          <a:endParaRPr lang="en-US"/>
        </a:p>
      </dgm:t>
    </dgm:pt>
    <dgm:pt modelId="{B7A10EF5-B699-4151-91BB-D3F855A5B026}" type="sibTrans" cxnId="{A0799471-758C-4B05-A74A-25E3C5CD7479}">
      <dgm:prSet/>
      <dgm:spPr/>
      <dgm:t>
        <a:bodyPr/>
        <a:lstStyle/>
        <a:p>
          <a:endParaRPr lang="en-US"/>
        </a:p>
      </dgm:t>
    </dgm:pt>
    <dgm:pt modelId="{56100FA7-EA8E-4645-A2D5-4FB392098C1B}">
      <dgm:prSet phldrT="[Text]" custT="1"/>
      <dgm:spPr>
        <a:solidFill>
          <a:srgbClr val="92D050"/>
        </a:solidFill>
      </dgm:spPr>
      <dgm:t>
        <a:bodyPr/>
        <a:lstStyle/>
        <a:p>
          <a:r>
            <a:rPr lang="en-US" sz="1400" b="1" dirty="0">
              <a:solidFill>
                <a:schemeClr val="tx1"/>
              </a:solidFill>
            </a:rPr>
            <a:t>WCS</a:t>
          </a:r>
          <a:endParaRPr lang="en-US" sz="1200" b="1" dirty="0">
            <a:solidFill>
              <a:schemeClr val="tx1"/>
            </a:solidFill>
          </a:endParaRPr>
        </a:p>
      </dgm:t>
    </dgm:pt>
    <dgm:pt modelId="{6D3405DF-DAE4-4EC1-9A81-ACABC3BB3595}" type="parTrans" cxnId="{CC5DD57A-16E3-4E31-AEF5-B3CD4CA2D313}">
      <dgm:prSet/>
      <dgm:spPr/>
      <dgm:t>
        <a:bodyPr/>
        <a:lstStyle/>
        <a:p>
          <a:endParaRPr lang="en-US"/>
        </a:p>
      </dgm:t>
    </dgm:pt>
    <dgm:pt modelId="{F980629B-5FCB-4DBD-8277-0D9420011B9E}" type="sibTrans" cxnId="{CC5DD57A-16E3-4E31-AEF5-B3CD4CA2D313}">
      <dgm:prSet/>
      <dgm:spPr/>
      <dgm:t>
        <a:bodyPr/>
        <a:lstStyle/>
        <a:p>
          <a:endParaRPr lang="en-US"/>
        </a:p>
      </dgm:t>
    </dgm:pt>
    <dgm:pt modelId="{25C34C51-DD44-4CF7-9093-8E431A21B64C}" type="pres">
      <dgm:prSet presAssocID="{7CE73B2F-FAFD-4EEE-A9FF-F6D4F373E706}" presName="theList" presStyleCnt="0">
        <dgm:presLayoutVars>
          <dgm:dir/>
          <dgm:animLvl val="lvl"/>
          <dgm:resizeHandles val="exact"/>
        </dgm:presLayoutVars>
      </dgm:prSet>
      <dgm:spPr/>
      <dgm:t>
        <a:bodyPr/>
        <a:lstStyle/>
        <a:p>
          <a:endParaRPr lang="en-ZA"/>
        </a:p>
      </dgm:t>
    </dgm:pt>
    <dgm:pt modelId="{41E61EFC-DE92-4069-9BB0-5750A196C60C}" type="pres">
      <dgm:prSet presAssocID="{113DA095-5452-435F-AA7B-FAC458BB8D4C}" presName="compNode" presStyleCnt="0"/>
      <dgm:spPr/>
    </dgm:pt>
    <dgm:pt modelId="{75F72EC7-A214-4FC2-8112-2BFCCF8B6826}" type="pres">
      <dgm:prSet presAssocID="{113DA095-5452-435F-AA7B-FAC458BB8D4C}" presName="aNode" presStyleLbl="bgShp" presStyleIdx="0" presStyleCnt="5" custLinFactNeighborX="1144" custLinFactNeighborY="-511"/>
      <dgm:spPr/>
      <dgm:t>
        <a:bodyPr/>
        <a:lstStyle/>
        <a:p>
          <a:endParaRPr lang="en-ZA"/>
        </a:p>
      </dgm:t>
    </dgm:pt>
    <dgm:pt modelId="{9BC95D67-8633-425D-A6CB-B1E2A40B6885}" type="pres">
      <dgm:prSet presAssocID="{113DA095-5452-435F-AA7B-FAC458BB8D4C}" presName="textNode" presStyleLbl="bgShp" presStyleIdx="0" presStyleCnt="5"/>
      <dgm:spPr/>
      <dgm:t>
        <a:bodyPr/>
        <a:lstStyle/>
        <a:p>
          <a:endParaRPr lang="en-ZA"/>
        </a:p>
      </dgm:t>
    </dgm:pt>
    <dgm:pt modelId="{6FF7FCAE-AA24-4A9C-A3D4-8D8C8C5B5519}" type="pres">
      <dgm:prSet presAssocID="{113DA095-5452-435F-AA7B-FAC458BB8D4C}" presName="compChildNode" presStyleCnt="0"/>
      <dgm:spPr/>
    </dgm:pt>
    <dgm:pt modelId="{914B2803-74F9-4516-8EB9-0ED031387988}" type="pres">
      <dgm:prSet presAssocID="{113DA095-5452-435F-AA7B-FAC458BB8D4C}" presName="theInnerList" presStyleCnt="0"/>
      <dgm:spPr/>
    </dgm:pt>
    <dgm:pt modelId="{3B34FDFE-936D-483A-A038-77B8C191A391}" type="pres">
      <dgm:prSet presAssocID="{1734ACA3-103F-4DB8-B73C-4461B2906292}" presName="childNode" presStyleLbl="node1" presStyleIdx="0" presStyleCnt="14" custLinFactNeighborX="2890" custLinFactNeighborY="11026">
        <dgm:presLayoutVars>
          <dgm:bulletEnabled val="1"/>
        </dgm:presLayoutVars>
      </dgm:prSet>
      <dgm:spPr/>
      <dgm:t>
        <a:bodyPr/>
        <a:lstStyle/>
        <a:p>
          <a:endParaRPr lang="en-ZA"/>
        </a:p>
      </dgm:t>
    </dgm:pt>
    <dgm:pt modelId="{6A05FFFE-189A-4AF4-AC15-5CE0B1831ED1}" type="pres">
      <dgm:prSet presAssocID="{1734ACA3-103F-4DB8-B73C-4461B2906292}" presName="aSpace2" presStyleCnt="0"/>
      <dgm:spPr/>
    </dgm:pt>
    <dgm:pt modelId="{BFB051E7-8CEC-45B1-B225-93CDD2D94AE0}" type="pres">
      <dgm:prSet presAssocID="{56100FA7-EA8E-4645-A2D5-4FB392098C1B}" presName="childNode" presStyleLbl="node1" presStyleIdx="1" presStyleCnt="14" custLinFactNeighborX="5695" custLinFactNeighborY="6340">
        <dgm:presLayoutVars>
          <dgm:bulletEnabled val="1"/>
        </dgm:presLayoutVars>
      </dgm:prSet>
      <dgm:spPr/>
      <dgm:t>
        <a:bodyPr/>
        <a:lstStyle/>
        <a:p>
          <a:endParaRPr lang="en-ZA"/>
        </a:p>
      </dgm:t>
    </dgm:pt>
    <dgm:pt modelId="{2AAF9880-DEC7-42F6-A055-88307C3FB33D}" type="pres">
      <dgm:prSet presAssocID="{113DA095-5452-435F-AA7B-FAC458BB8D4C}" presName="aSpace" presStyleCnt="0"/>
      <dgm:spPr/>
    </dgm:pt>
    <dgm:pt modelId="{FBA55374-AA05-4E23-A02F-7ED88A254A1A}" type="pres">
      <dgm:prSet presAssocID="{0DE8DE8A-0884-4410-AFA9-9664481B5571}" presName="compNode" presStyleCnt="0"/>
      <dgm:spPr/>
    </dgm:pt>
    <dgm:pt modelId="{B423EEEF-7E0C-4065-8F0A-7BE9E962D0A4}" type="pres">
      <dgm:prSet presAssocID="{0DE8DE8A-0884-4410-AFA9-9664481B5571}" presName="aNode" presStyleLbl="bgShp" presStyleIdx="1" presStyleCnt="5"/>
      <dgm:spPr/>
      <dgm:t>
        <a:bodyPr/>
        <a:lstStyle/>
        <a:p>
          <a:endParaRPr lang="en-ZA"/>
        </a:p>
      </dgm:t>
    </dgm:pt>
    <dgm:pt modelId="{BD9F3F95-002F-44A9-A237-DD1201CCC13B}" type="pres">
      <dgm:prSet presAssocID="{0DE8DE8A-0884-4410-AFA9-9664481B5571}" presName="textNode" presStyleLbl="bgShp" presStyleIdx="1" presStyleCnt="5"/>
      <dgm:spPr/>
      <dgm:t>
        <a:bodyPr/>
        <a:lstStyle/>
        <a:p>
          <a:endParaRPr lang="en-ZA"/>
        </a:p>
      </dgm:t>
    </dgm:pt>
    <dgm:pt modelId="{334FD5FC-2142-4BFF-ABD7-BA0CD193C5EE}" type="pres">
      <dgm:prSet presAssocID="{0DE8DE8A-0884-4410-AFA9-9664481B5571}" presName="compChildNode" presStyleCnt="0"/>
      <dgm:spPr/>
    </dgm:pt>
    <dgm:pt modelId="{EF646CFA-9D0D-4B8A-900A-296C93D09BBE}" type="pres">
      <dgm:prSet presAssocID="{0DE8DE8A-0884-4410-AFA9-9664481B5571}" presName="theInnerList" presStyleCnt="0"/>
      <dgm:spPr/>
    </dgm:pt>
    <dgm:pt modelId="{53CBDECD-13FB-4995-8522-8389D79508BF}" type="pres">
      <dgm:prSet presAssocID="{94B6E1D2-A2ED-43E3-8D7F-978E38182E5F}" presName="childNode" presStyleLbl="node1" presStyleIdx="2" presStyleCnt="14" custLinFactNeighborX="687" custLinFactNeighborY="3245">
        <dgm:presLayoutVars>
          <dgm:bulletEnabled val="1"/>
        </dgm:presLayoutVars>
      </dgm:prSet>
      <dgm:spPr/>
      <dgm:t>
        <a:bodyPr/>
        <a:lstStyle/>
        <a:p>
          <a:endParaRPr lang="en-ZA"/>
        </a:p>
      </dgm:t>
    </dgm:pt>
    <dgm:pt modelId="{435ED84E-9F11-469F-AFFD-7AEF74B954E2}" type="pres">
      <dgm:prSet presAssocID="{0DE8DE8A-0884-4410-AFA9-9664481B5571}" presName="aSpace" presStyleCnt="0"/>
      <dgm:spPr/>
    </dgm:pt>
    <dgm:pt modelId="{BF461080-0B43-456B-BB35-CD839CBB07C7}" type="pres">
      <dgm:prSet presAssocID="{D30C9C82-5F73-4D59-B9B3-E229F741FA6F}" presName="compNode" presStyleCnt="0"/>
      <dgm:spPr/>
    </dgm:pt>
    <dgm:pt modelId="{5B50CB7B-9099-49D3-ABC7-125DCA43CCD9}" type="pres">
      <dgm:prSet presAssocID="{D30C9C82-5F73-4D59-B9B3-E229F741FA6F}" presName="aNode" presStyleLbl="bgShp" presStyleIdx="2" presStyleCnt="5"/>
      <dgm:spPr/>
      <dgm:t>
        <a:bodyPr/>
        <a:lstStyle/>
        <a:p>
          <a:endParaRPr lang="en-ZA"/>
        </a:p>
      </dgm:t>
    </dgm:pt>
    <dgm:pt modelId="{F458E3B3-8840-443F-A49D-0A54B25C98B1}" type="pres">
      <dgm:prSet presAssocID="{D30C9C82-5F73-4D59-B9B3-E229F741FA6F}" presName="textNode" presStyleLbl="bgShp" presStyleIdx="2" presStyleCnt="5"/>
      <dgm:spPr/>
      <dgm:t>
        <a:bodyPr/>
        <a:lstStyle/>
        <a:p>
          <a:endParaRPr lang="en-ZA"/>
        </a:p>
      </dgm:t>
    </dgm:pt>
    <dgm:pt modelId="{72E0329F-54E8-4B50-B239-4C9E64591AD9}" type="pres">
      <dgm:prSet presAssocID="{D30C9C82-5F73-4D59-B9B3-E229F741FA6F}" presName="compChildNode" presStyleCnt="0"/>
      <dgm:spPr/>
    </dgm:pt>
    <dgm:pt modelId="{47CA0823-EB26-4EDA-8963-0AF2F4876C61}" type="pres">
      <dgm:prSet presAssocID="{D30C9C82-5F73-4D59-B9B3-E229F741FA6F}" presName="theInnerList" presStyleCnt="0"/>
      <dgm:spPr/>
    </dgm:pt>
    <dgm:pt modelId="{151886D5-CCC7-40B3-ADF2-E15F7549D071}" type="pres">
      <dgm:prSet presAssocID="{9B7CDDD3-2ED4-47E9-B775-B2730C8E2DDC}" presName="childNode" presStyleLbl="node1" presStyleIdx="3" presStyleCnt="14" custScaleY="166283" custLinFactNeighborY="46684">
        <dgm:presLayoutVars>
          <dgm:bulletEnabled val="1"/>
        </dgm:presLayoutVars>
      </dgm:prSet>
      <dgm:spPr/>
      <dgm:t>
        <a:bodyPr/>
        <a:lstStyle/>
        <a:p>
          <a:endParaRPr lang="en-ZA"/>
        </a:p>
      </dgm:t>
    </dgm:pt>
    <dgm:pt modelId="{425CACBE-8A46-45B0-B7C3-8AA2DDAF1808}" type="pres">
      <dgm:prSet presAssocID="{9B7CDDD3-2ED4-47E9-B775-B2730C8E2DDC}" presName="aSpace2" presStyleCnt="0"/>
      <dgm:spPr/>
    </dgm:pt>
    <dgm:pt modelId="{824B1A43-2E82-4AFD-9582-0A8D524DF600}" type="pres">
      <dgm:prSet presAssocID="{BAD874C1-1142-4ED3-B550-F3F33608EE67}" presName="childNode" presStyleLbl="node1" presStyleIdx="4" presStyleCnt="14" custLinFactNeighborY="46684">
        <dgm:presLayoutVars>
          <dgm:bulletEnabled val="1"/>
        </dgm:presLayoutVars>
      </dgm:prSet>
      <dgm:spPr/>
      <dgm:t>
        <a:bodyPr/>
        <a:lstStyle/>
        <a:p>
          <a:endParaRPr lang="en-ZA"/>
        </a:p>
      </dgm:t>
    </dgm:pt>
    <dgm:pt modelId="{59EF5DF4-DF77-430F-8552-813716260EAF}" type="pres">
      <dgm:prSet presAssocID="{BAD874C1-1142-4ED3-B550-F3F33608EE67}" presName="aSpace2" presStyleCnt="0"/>
      <dgm:spPr/>
    </dgm:pt>
    <dgm:pt modelId="{83E5EBA2-F89A-4AE7-934E-E040A027D4E3}" type="pres">
      <dgm:prSet presAssocID="{9086EE2F-CF56-4C6A-8C83-9463F00E52E9}" presName="childNode" presStyleLbl="node1" presStyleIdx="5" presStyleCnt="14" custLinFactNeighborY="46684">
        <dgm:presLayoutVars>
          <dgm:bulletEnabled val="1"/>
        </dgm:presLayoutVars>
      </dgm:prSet>
      <dgm:spPr/>
      <dgm:t>
        <a:bodyPr/>
        <a:lstStyle/>
        <a:p>
          <a:endParaRPr lang="en-ZA"/>
        </a:p>
      </dgm:t>
    </dgm:pt>
    <dgm:pt modelId="{FA09C398-A1AE-4413-BDBC-ECF1102E4612}" type="pres">
      <dgm:prSet presAssocID="{9086EE2F-CF56-4C6A-8C83-9463F00E52E9}" presName="aSpace2" presStyleCnt="0"/>
      <dgm:spPr/>
    </dgm:pt>
    <dgm:pt modelId="{3FD1EA50-24D0-41E4-A5CB-E0788B3D1C2C}" type="pres">
      <dgm:prSet presAssocID="{EEEEA0ED-1CD4-4FFB-A4BE-5EC46DE913FA}" presName="childNode" presStyleLbl="node1" presStyleIdx="6" presStyleCnt="14" custLinFactNeighborY="46684">
        <dgm:presLayoutVars>
          <dgm:bulletEnabled val="1"/>
        </dgm:presLayoutVars>
      </dgm:prSet>
      <dgm:spPr/>
      <dgm:t>
        <a:bodyPr/>
        <a:lstStyle/>
        <a:p>
          <a:endParaRPr lang="en-ZA"/>
        </a:p>
      </dgm:t>
    </dgm:pt>
    <dgm:pt modelId="{5A4449D6-7296-4986-B6BF-6929FA93E7EA}" type="pres">
      <dgm:prSet presAssocID="{EEEEA0ED-1CD4-4FFB-A4BE-5EC46DE913FA}" presName="aSpace2" presStyleCnt="0"/>
      <dgm:spPr/>
    </dgm:pt>
    <dgm:pt modelId="{C9B9C669-4F94-43A1-AFFB-C021C3930597}" type="pres">
      <dgm:prSet presAssocID="{BC4E3B2E-DA7B-4DF3-9A63-C41C8BFABFA7}" presName="childNode" presStyleLbl="node1" presStyleIdx="7" presStyleCnt="14" custLinFactNeighborY="46684">
        <dgm:presLayoutVars>
          <dgm:bulletEnabled val="1"/>
        </dgm:presLayoutVars>
      </dgm:prSet>
      <dgm:spPr/>
      <dgm:t>
        <a:bodyPr/>
        <a:lstStyle/>
        <a:p>
          <a:endParaRPr lang="en-ZA"/>
        </a:p>
      </dgm:t>
    </dgm:pt>
    <dgm:pt modelId="{FAC9E975-AE01-4047-9B57-C6A8086D65D2}" type="pres">
      <dgm:prSet presAssocID="{BC4E3B2E-DA7B-4DF3-9A63-C41C8BFABFA7}" presName="aSpace2" presStyleCnt="0"/>
      <dgm:spPr/>
    </dgm:pt>
    <dgm:pt modelId="{2B532FF6-446A-40B1-9C64-224BDEEC6DD9}" type="pres">
      <dgm:prSet presAssocID="{540CDFAD-54A2-48DF-A2C9-A66437DB9DD6}" presName="childNode" presStyleLbl="node1" presStyleIdx="8" presStyleCnt="14" custLinFactNeighborY="46684">
        <dgm:presLayoutVars>
          <dgm:bulletEnabled val="1"/>
        </dgm:presLayoutVars>
      </dgm:prSet>
      <dgm:spPr/>
      <dgm:t>
        <a:bodyPr/>
        <a:lstStyle/>
        <a:p>
          <a:endParaRPr lang="en-ZA"/>
        </a:p>
      </dgm:t>
    </dgm:pt>
    <dgm:pt modelId="{14EA66DA-9563-471A-A3A3-6A2D8C3F1628}" type="pres">
      <dgm:prSet presAssocID="{D30C9C82-5F73-4D59-B9B3-E229F741FA6F}" presName="aSpace" presStyleCnt="0"/>
      <dgm:spPr/>
    </dgm:pt>
    <dgm:pt modelId="{B2301018-2F06-4F06-9E00-4EEF07BF2985}" type="pres">
      <dgm:prSet presAssocID="{FBCEEB1D-63C6-4FAA-BAC3-833F14A4CCDC}" presName="compNode" presStyleCnt="0"/>
      <dgm:spPr/>
    </dgm:pt>
    <dgm:pt modelId="{DA9E3B09-B218-424D-9A9E-6C0B281596BB}" type="pres">
      <dgm:prSet presAssocID="{FBCEEB1D-63C6-4FAA-BAC3-833F14A4CCDC}" presName="aNode" presStyleLbl="bgShp" presStyleIdx="3" presStyleCnt="5"/>
      <dgm:spPr/>
      <dgm:t>
        <a:bodyPr/>
        <a:lstStyle/>
        <a:p>
          <a:endParaRPr lang="en-ZA"/>
        </a:p>
      </dgm:t>
    </dgm:pt>
    <dgm:pt modelId="{68FFAE6F-B486-4243-A4E4-D6B83F3889E1}" type="pres">
      <dgm:prSet presAssocID="{FBCEEB1D-63C6-4FAA-BAC3-833F14A4CCDC}" presName="textNode" presStyleLbl="bgShp" presStyleIdx="3" presStyleCnt="5"/>
      <dgm:spPr/>
      <dgm:t>
        <a:bodyPr/>
        <a:lstStyle/>
        <a:p>
          <a:endParaRPr lang="en-ZA"/>
        </a:p>
      </dgm:t>
    </dgm:pt>
    <dgm:pt modelId="{2EC5A395-4991-4ECC-8BB6-B01E2DA81DD9}" type="pres">
      <dgm:prSet presAssocID="{FBCEEB1D-63C6-4FAA-BAC3-833F14A4CCDC}" presName="compChildNode" presStyleCnt="0"/>
      <dgm:spPr/>
    </dgm:pt>
    <dgm:pt modelId="{58BE74C3-ED77-45FE-8DB2-9CF623DCDF23}" type="pres">
      <dgm:prSet presAssocID="{FBCEEB1D-63C6-4FAA-BAC3-833F14A4CCDC}" presName="theInnerList" presStyleCnt="0"/>
      <dgm:spPr/>
    </dgm:pt>
    <dgm:pt modelId="{9AB537BC-5EFC-4167-98E8-9880C5E06780}" type="pres">
      <dgm:prSet presAssocID="{32B32922-F57F-425C-81C5-7B489134FD6F}" presName="childNode" presStyleLbl="node1" presStyleIdx="9" presStyleCnt="14" custLinFactNeighborY="15857">
        <dgm:presLayoutVars>
          <dgm:bulletEnabled val="1"/>
        </dgm:presLayoutVars>
      </dgm:prSet>
      <dgm:spPr/>
      <dgm:t>
        <a:bodyPr/>
        <a:lstStyle/>
        <a:p>
          <a:endParaRPr lang="en-ZA"/>
        </a:p>
      </dgm:t>
    </dgm:pt>
    <dgm:pt modelId="{F91A7A75-16B6-483F-BD45-70BC469E194E}" type="pres">
      <dgm:prSet presAssocID="{32B32922-F57F-425C-81C5-7B489134FD6F}" presName="aSpace2" presStyleCnt="0"/>
      <dgm:spPr/>
    </dgm:pt>
    <dgm:pt modelId="{8711490B-129F-4F44-A001-F232EB36D77B}" type="pres">
      <dgm:prSet presAssocID="{92664F77-DA94-421A-8D3A-7E35BECC0873}" presName="childNode" presStyleLbl="node1" presStyleIdx="10" presStyleCnt="14">
        <dgm:presLayoutVars>
          <dgm:bulletEnabled val="1"/>
        </dgm:presLayoutVars>
      </dgm:prSet>
      <dgm:spPr/>
      <dgm:t>
        <a:bodyPr/>
        <a:lstStyle/>
        <a:p>
          <a:endParaRPr lang="en-ZA"/>
        </a:p>
      </dgm:t>
    </dgm:pt>
    <dgm:pt modelId="{FAD4CD09-E63E-4CEB-BCC6-BD662761AA43}" type="pres">
      <dgm:prSet presAssocID="{FBCEEB1D-63C6-4FAA-BAC3-833F14A4CCDC}" presName="aSpace" presStyleCnt="0"/>
      <dgm:spPr/>
    </dgm:pt>
    <dgm:pt modelId="{FA0A4179-4377-49FC-B5D9-8DDF58EDB992}" type="pres">
      <dgm:prSet presAssocID="{57C35D0C-7F92-4718-8A87-E171A93885C1}" presName="compNode" presStyleCnt="0"/>
      <dgm:spPr/>
    </dgm:pt>
    <dgm:pt modelId="{33902426-98D2-4C5F-B344-ECB12B30DF14}" type="pres">
      <dgm:prSet presAssocID="{57C35D0C-7F92-4718-8A87-E171A93885C1}" presName="aNode" presStyleLbl="bgShp" presStyleIdx="4" presStyleCnt="5"/>
      <dgm:spPr/>
      <dgm:t>
        <a:bodyPr/>
        <a:lstStyle/>
        <a:p>
          <a:endParaRPr lang="en-ZA"/>
        </a:p>
      </dgm:t>
    </dgm:pt>
    <dgm:pt modelId="{85080EB8-B3BC-4350-88A4-B327CA220135}" type="pres">
      <dgm:prSet presAssocID="{57C35D0C-7F92-4718-8A87-E171A93885C1}" presName="textNode" presStyleLbl="bgShp" presStyleIdx="4" presStyleCnt="5"/>
      <dgm:spPr/>
      <dgm:t>
        <a:bodyPr/>
        <a:lstStyle/>
        <a:p>
          <a:endParaRPr lang="en-ZA"/>
        </a:p>
      </dgm:t>
    </dgm:pt>
    <dgm:pt modelId="{F51EB130-51B4-4231-A4E7-6491FC7ED981}" type="pres">
      <dgm:prSet presAssocID="{57C35D0C-7F92-4718-8A87-E171A93885C1}" presName="compChildNode" presStyleCnt="0"/>
      <dgm:spPr/>
    </dgm:pt>
    <dgm:pt modelId="{897C06CC-AC9A-4CB7-AF03-47D9C162254B}" type="pres">
      <dgm:prSet presAssocID="{57C35D0C-7F92-4718-8A87-E171A93885C1}" presName="theInnerList" presStyleCnt="0"/>
      <dgm:spPr/>
    </dgm:pt>
    <dgm:pt modelId="{A0DCFAD7-28D4-46EE-ACEA-4B2AF9D93A12}" type="pres">
      <dgm:prSet presAssocID="{0B9FBEB6-F1D5-4CBB-8AB4-92C654D25F49}" presName="childNode" presStyleLbl="node1" presStyleIdx="11" presStyleCnt="14">
        <dgm:presLayoutVars>
          <dgm:bulletEnabled val="1"/>
        </dgm:presLayoutVars>
      </dgm:prSet>
      <dgm:spPr/>
      <dgm:t>
        <a:bodyPr/>
        <a:lstStyle/>
        <a:p>
          <a:endParaRPr lang="en-ZA"/>
        </a:p>
      </dgm:t>
    </dgm:pt>
    <dgm:pt modelId="{24273307-DCE9-4397-A390-B15DBF992A76}" type="pres">
      <dgm:prSet presAssocID="{0B9FBEB6-F1D5-4CBB-8AB4-92C654D25F49}" presName="aSpace2" presStyleCnt="0"/>
      <dgm:spPr/>
    </dgm:pt>
    <dgm:pt modelId="{9F806A33-04A3-462D-82BE-4754877F25D4}" type="pres">
      <dgm:prSet presAssocID="{DE996173-CE5E-4B42-A5C6-F28968FCABCD}" presName="childNode" presStyleLbl="node1" presStyleIdx="12" presStyleCnt="14">
        <dgm:presLayoutVars>
          <dgm:bulletEnabled val="1"/>
        </dgm:presLayoutVars>
      </dgm:prSet>
      <dgm:spPr/>
      <dgm:t>
        <a:bodyPr/>
        <a:lstStyle/>
        <a:p>
          <a:endParaRPr lang="en-ZA"/>
        </a:p>
      </dgm:t>
    </dgm:pt>
    <dgm:pt modelId="{BD008205-D4F9-4DF0-8B4D-048717281EAD}" type="pres">
      <dgm:prSet presAssocID="{DE996173-CE5E-4B42-A5C6-F28968FCABCD}" presName="aSpace2" presStyleCnt="0"/>
      <dgm:spPr/>
    </dgm:pt>
    <dgm:pt modelId="{547637A4-02C2-44C6-B735-CDB198F9153D}" type="pres">
      <dgm:prSet presAssocID="{608E2AA8-364E-4E40-AA62-EC1721EDCE46}" presName="childNode" presStyleLbl="node1" presStyleIdx="13" presStyleCnt="14">
        <dgm:presLayoutVars>
          <dgm:bulletEnabled val="1"/>
        </dgm:presLayoutVars>
      </dgm:prSet>
      <dgm:spPr/>
      <dgm:t>
        <a:bodyPr/>
        <a:lstStyle/>
        <a:p>
          <a:endParaRPr lang="en-ZA"/>
        </a:p>
      </dgm:t>
    </dgm:pt>
  </dgm:ptLst>
  <dgm:cxnLst>
    <dgm:cxn modelId="{8645382B-5C53-424A-98C2-B96FE08A5ED5}" srcId="{7CE73B2F-FAFD-4EEE-A9FF-F6D4F373E706}" destId="{113DA095-5452-435F-AA7B-FAC458BB8D4C}" srcOrd="0" destOrd="0" parTransId="{E31D0E47-44FC-4AE4-9A0A-AEA0EA75B572}" sibTransId="{BC43D459-43C0-4F28-A88F-E13599987487}"/>
    <dgm:cxn modelId="{991408F1-5F5D-4372-9682-B599809060D5}" srcId="{7CE73B2F-FAFD-4EEE-A9FF-F6D4F373E706}" destId="{FBCEEB1D-63C6-4FAA-BAC3-833F14A4CCDC}" srcOrd="3" destOrd="0" parTransId="{08789181-01B1-434A-898C-A4D4E2884DF7}" sibTransId="{7A6D933C-730A-4CEF-9846-5F567273BACA}"/>
    <dgm:cxn modelId="{98F9E1ED-6E1B-4EFC-B472-3E0EFBD05EEC}" type="presOf" srcId="{9B7CDDD3-2ED4-47E9-B775-B2730C8E2DDC}" destId="{151886D5-CCC7-40B3-ADF2-E15F7549D071}" srcOrd="0" destOrd="0" presId="urn:microsoft.com/office/officeart/2005/8/layout/lProcess2"/>
    <dgm:cxn modelId="{BB840EA5-CB97-4991-B998-B633010C3A8E}" type="presOf" srcId="{113DA095-5452-435F-AA7B-FAC458BB8D4C}" destId="{75F72EC7-A214-4FC2-8112-2BFCCF8B6826}" srcOrd="0" destOrd="0" presId="urn:microsoft.com/office/officeart/2005/8/layout/lProcess2"/>
    <dgm:cxn modelId="{E9EBC4E6-0835-4B29-B4C7-CE1D9A5A0E6D}" srcId="{113DA095-5452-435F-AA7B-FAC458BB8D4C}" destId="{1734ACA3-103F-4DB8-B73C-4461B2906292}" srcOrd="0" destOrd="0" parTransId="{90473797-7122-4780-B5C7-374FFE89A446}" sibTransId="{DAADA45B-56BE-46D4-926F-61C1A02B4C15}"/>
    <dgm:cxn modelId="{2248AD83-4AE7-4F99-A08E-488A415F3ADF}" type="presOf" srcId="{92664F77-DA94-421A-8D3A-7E35BECC0873}" destId="{8711490B-129F-4F44-A001-F232EB36D77B}" srcOrd="0" destOrd="0" presId="urn:microsoft.com/office/officeart/2005/8/layout/lProcess2"/>
    <dgm:cxn modelId="{8AC594A5-AE47-4F9E-8DE8-AE7AC572A54C}" type="presOf" srcId="{FBCEEB1D-63C6-4FAA-BAC3-833F14A4CCDC}" destId="{68FFAE6F-B486-4243-A4E4-D6B83F3889E1}" srcOrd="1" destOrd="0" presId="urn:microsoft.com/office/officeart/2005/8/layout/lProcess2"/>
    <dgm:cxn modelId="{E49EC8DF-5BCE-41E3-84D0-A1895096CF04}" type="presOf" srcId="{0DE8DE8A-0884-4410-AFA9-9664481B5571}" destId="{B423EEEF-7E0C-4065-8F0A-7BE9E962D0A4}" srcOrd="0" destOrd="0" presId="urn:microsoft.com/office/officeart/2005/8/layout/lProcess2"/>
    <dgm:cxn modelId="{4C5DA0C9-97CA-4378-8922-C63ABBEB1C60}" type="presOf" srcId="{113DA095-5452-435F-AA7B-FAC458BB8D4C}" destId="{9BC95D67-8633-425D-A6CB-B1E2A40B6885}" srcOrd="1" destOrd="0" presId="urn:microsoft.com/office/officeart/2005/8/layout/lProcess2"/>
    <dgm:cxn modelId="{7015385F-8DB9-47BA-B4EA-E40F5DB8D158}" type="presOf" srcId="{D30C9C82-5F73-4D59-B9B3-E229F741FA6F}" destId="{5B50CB7B-9099-49D3-ABC7-125DCA43CCD9}" srcOrd="0" destOrd="0" presId="urn:microsoft.com/office/officeart/2005/8/layout/lProcess2"/>
    <dgm:cxn modelId="{6A96F465-3A85-432E-9DEF-A1F48A5CC850}" type="presOf" srcId="{0DE8DE8A-0884-4410-AFA9-9664481B5571}" destId="{BD9F3F95-002F-44A9-A237-DD1201CCC13B}" srcOrd="1" destOrd="0" presId="urn:microsoft.com/office/officeart/2005/8/layout/lProcess2"/>
    <dgm:cxn modelId="{773FEFC8-F550-42A9-BF8E-46DCB488A107}" type="presOf" srcId="{1734ACA3-103F-4DB8-B73C-4461B2906292}" destId="{3B34FDFE-936D-483A-A038-77B8C191A391}" srcOrd="0" destOrd="0" presId="urn:microsoft.com/office/officeart/2005/8/layout/lProcess2"/>
    <dgm:cxn modelId="{82714C05-8B4E-48D3-B7A4-5EC5D9AB218C}" type="presOf" srcId="{D30C9C82-5F73-4D59-B9B3-E229F741FA6F}" destId="{F458E3B3-8840-443F-A49D-0A54B25C98B1}" srcOrd="1" destOrd="0" presId="urn:microsoft.com/office/officeart/2005/8/layout/lProcess2"/>
    <dgm:cxn modelId="{F6BD2ABF-7136-4F99-BBBC-E505BDD9DB63}" type="presOf" srcId="{FBCEEB1D-63C6-4FAA-BAC3-833F14A4CCDC}" destId="{DA9E3B09-B218-424D-9A9E-6C0B281596BB}" srcOrd="0" destOrd="0" presId="urn:microsoft.com/office/officeart/2005/8/layout/lProcess2"/>
    <dgm:cxn modelId="{FABF8B7A-B8E5-41DD-83E5-DA75F41CD6D9}" srcId="{FBCEEB1D-63C6-4FAA-BAC3-833F14A4CCDC}" destId="{32B32922-F57F-425C-81C5-7B489134FD6F}" srcOrd="0" destOrd="0" parTransId="{FC2115F5-B2BA-4A53-94A6-60251C179B71}" sibTransId="{35272A6A-4379-4409-87B8-BE93C16B6BD3}"/>
    <dgm:cxn modelId="{FAF0EB47-F938-4EF1-A94F-DF6BF7721A63}" srcId="{D30C9C82-5F73-4D59-B9B3-E229F741FA6F}" destId="{BC4E3B2E-DA7B-4DF3-9A63-C41C8BFABFA7}" srcOrd="4" destOrd="0" parTransId="{843B0712-E810-42E0-8DA1-D5106ABF624B}" sibTransId="{2F6FA54D-0CE7-4BF2-91B4-D981F6F5943E}"/>
    <dgm:cxn modelId="{BF138DEF-6946-467F-A676-F6745A7A4BD4}" type="presOf" srcId="{7CE73B2F-FAFD-4EEE-A9FF-F6D4F373E706}" destId="{25C34C51-DD44-4CF7-9093-8E431A21B64C}" srcOrd="0" destOrd="0" presId="urn:microsoft.com/office/officeart/2005/8/layout/lProcess2"/>
    <dgm:cxn modelId="{DCB947E8-4429-4717-90AE-CDF636207B26}" type="presOf" srcId="{57C35D0C-7F92-4718-8A87-E171A93885C1}" destId="{85080EB8-B3BC-4350-88A4-B327CA220135}" srcOrd="1" destOrd="0" presId="urn:microsoft.com/office/officeart/2005/8/layout/lProcess2"/>
    <dgm:cxn modelId="{14EAE25E-3A90-44FA-9983-C9E591ACA0BA}" srcId="{7CE73B2F-FAFD-4EEE-A9FF-F6D4F373E706}" destId="{0DE8DE8A-0884-4410-AFA9-9664481B5571}" srcOrd="1" destOrd="0" parTransId="{71B102B8-9C4B-4AA1-8CB5-FC934F7222BC}" sibTransId="{DCA1C4F9-08AF-4DC7-A94B-0A0464A55DCC}"/>
    <dgm:cxn modelId="{9380A1B4-7BBF-400D-BE1E-3A1883B74A8D}" type="presOf" srcId="{9086EE2F-CF56-4C6A-8C83-9463F00E52E9}" destId="{83E5EBA2-F89A-4AE7-934E-E040A027D4E3}" srcOrd="0" destOrd="0" presId="urn:microsoft.com/office/officeart/2005/8/layout/lProcess2"/>
    <dgm:cxn modelId="{C5C2ED18-208D-41F0-B3B2-75517A71942D}" srcId="{FBCEEB1D-63C6-4FAA-BAC3-833F14A4CCDC}" destId="{92664F77-DA94-421A-8D3A-7E35BECC0873}" srcOrd="1" destOrd="0" parTransId="{0E5A0366-F291-4799-B026-452F6C106B20}" sibTransId="{8F0A269E-1D63-4918-95F7-BFC70E5AF02A}"/>
    <dgm:cxn modelId="{AAC0ED8C-5351-4860-898C-9258A1C58B19}" srcId="{D30C9C82-5F73-4D59-B9B3-E229F741FA6F}" destId="{9B7CDDD3-2ED4-47E9-B775-B2730C8E2DDC}" srcOrd="0" destOrd="0" parTransId="{C6AE4155-F4AE-4D80-8D64-09388411F586}" sibTransId="{719036E2-2BFA-482C-8883-69B9FAD51B58}"/>
    <dgm:cxn modelId="{40BB6BFC-A474-4344-B4D4-5564A877C9AC}" type="presOf" srcId="{608E2AA8-364E-4E40-AA62-EC1721EDCE46}" destId="{547637A4-02C2-44C6-B735-CDB198F9153D}" srcOrd="0" destOrd="0" presId="urn:microsoft.com/office/officeart/2005/8/layout/lProcess2"/>
    <dgm:cxn modelId="{F65146A7-3F64-46BE-90AC-765363B942A2}" type="presOf" srcId="{94B6E1D2-A2ED-43E3-8D7F-978E38182E5F}" destId="{53CBDECD-13FB-4995-8522-8389D79508BF}" srcOrd="0" destOrd="0" presId="urn:microsoft.com/office/officeart/2005/8/layout/lProcess2"/>
    <dgm:cxn modelId="{7F7E30F3-B2AA-49C3-BDA2-4ECB48410D9F}" srcId="{57C35D0C-7F92-4718-8A87-E171A93885C1}" destId="{DE996173-CE5E-4B42-A5C6-F28968FCABCD}" srcOrd="1" destOrd="0" parTransId="{0FBFAC79-F806-4BA0-8770-A43752B86B59}" sibTransId="{C03AAE05-FC11-4CA3-A100-7B2FAFA8906B}"/>
    <dgm:cxn modelId="{67069E1F-D4E2-4A52-A7A9-BB3921405A39}" srcId="{D30C9C82-5F73-4D59-B9B3-E229F741FA6F}" destId="{540CDFAD-54A2-48DF-A2C9-A66437DB9DD6}" srcOrd="5" destOrd="0" parTransId="{1C5284C6-C27C-4F9B-89B5-748D667F327B}" sibTransId="{957C4C9B-0737-4F75-BACD-256C34F90166}"/>
    <dgm:cxn modelId="{AD6D0465-7EA1-497F-900B-A1D9B6AE71ED}" srcId="{57C35D0C-7F92-4718-8A87-E171A93885C1}" destId="{0B9FBEB6-F1D5-4CBB-8AB4-92C654D25F49}" srcOrd="0" destOrd="0" parTransId="{186CA2F9-9694-433A-82BE-63AFECB555C4}" sibTransId="{6514BD0E-572C-418B-B162-CE4D383D7C7F}"/>
    <dgm:cxn modelId="{006AA87F-4C83-49AE-B422-D313BBF316F0}" srcId="{D30C9C82-5F73-4D59-B9B3-E229F741FA6F}" destId="{BAD874C1-1142-4ED3-B550-F3F33608EE67}" srcOrd="1" destOrd="0" parTransId="{56B7A361-BA1D-4DB1-A855-3AD4B20062DE}" sibTransId="{2A42392E-D2E7-4FA3-817F-3FD6FA8F2307}"/>
    <dgm:cxn modelId="{FA7BF276-86A4-4D9F-BC22-7F3D57D1D831}" srcId="{7CE73B2F-FAFD-4EEE-A9FF-F6D4F373E706}" destId="{57C35D0C-7F92-4718-8A87-E171A93885C1}" srcOrd="4" destOrd="0" parTransId="{5767DDCA-F48C-4FDA-8498-70CEFBEFF091}" sibTransId="{8E468EB9-6190-49FB-9DD9-CAD5851BE663}"/>
    <dgm:cxn modelId="{02CF4DE0-1724-403A-B27B-B2B1BFA777D7}" srcId="{0DE8DE8A-0884-4410-AFA9-9664481B5571}" destId="{94B6E1D2-A2ED-43E3-8D7F-978E38182E5F}" srcOrd="0" destOrd="0" parTransId="{A1551AF5-CC9E-4218-BCB8-895C3542F966}" sibTransId="{C6035D79-5A4C-4D40-9613-28CD6FBB3492}"/>
    <dgm:cxn modelId="{A0799471-758C-4B05-A74A-25E3C5CD7479}" srcId="{57C35D0C-7F92-4718-8A87-E171A93885C1}" destId="{608E2AA8-364E-4E40-AA62-EC1721EDCE46}" srcOrd="2" destOrd="0" parTransId="{084C1AAE-5062-4F54-88F9-D42530187CF6}" sibTransId="{B7A10EF5-B699-4151-91BB-D3F855A5B026}"/>
    <dgm:cxn modelId="{275F9939-5910-4129-98F5-AA04BB0070D8}" type="presOf" srcId="{BC4E3B2E-DA7B-4DF3-9A63-C41C8BFABFA7}" destId="{C9B9C669-4F94-43A1-AFFB-C021C3930597}" srcOrd="0" destOrd="0" presId="urn:microsoft.com/office/officeart/2005/8/layout/lProcess2"/>
    <dgm:cxn modelId="{8D6D19DB-8FC9-46BA-8602-08AA258ACDAA}" type="presOf" srcId="{0B9FBEB6-F1D5-4CBB-8AB4-92C654D25F49}" destId="{A0DCFAD7-28D4-46EE-ACEA-4B2AF9D93A12}" srcOrd="0" destOrd="0" presId="urn:microsoft.com/office/officeart/2005/8/layout/lProcess2"/>
    <dgm:cxn modelId="{B0C6464F-C915-4CF8-95F0-5ECAFF8E704F}" type="presOf" srcId="{56100FA7-EA8E-4645-A2D5-4FB392098C1B}" destId="{BFB051E7-8CEC-45B1-B225-93CDD2D94AE0}" srcOrd="0" destOrd="0" presId="urn:microsoft.com/office/officeart/2005/8/layout/lProcess2"/>
    <dgm:cxn modelId="{0AB86B1E-BD4B-44C9-9891-3893F431CA0D}" srcId="{7CE73B2F-FAFD-4EEE-A9FF-F6D4F373E706}" destId="{D30C9C82-5F73-4D59-B9B3-E229F741FA6F}" srcOrd="2" destOrd="0" parTransId="{65CFCADE-B126-49FE-93E5-95A98E25A73A}" sibTransId="{B3307AB8-2739-4523-B9B0-FFD77925BB40}"/>
    <dgm:cxn modelId="{8793A78D-4322-46A1-9D6A-4F511E0F2086}" type="presOf" srcId="{540CDFAD-54A2-48DF-A2C9-A66437DB9DD6}" destId="{2B532FF6-446A-40B1-9C64-224BDEEC6DD9}" srcOrd="0" destOrd="0" presId="urn:microsoft.com/office/officeart/2005/8/layout/lProcess2"/>
    <dgm:cxn modelId="{267AFB29-A6BB-4D61-890F-BD8B72D1FB04}" type="presOf" srcId="{BAD874C1-1142-4ED3-B550-F3F33608EE67}" destId="{824B1A43-2E82-4AFD-9582-0A8D524DF600}" srcOrd="0" destOrd="0" presId="urn:microsoft.com/office/officeart/2005/8/layout/lProcess2"/>
    <dgm:cxn modelId="{CC5DD57A-16E3-4E31-AEF5-B3CD4CA2D313}" srcId="{113DA095-5452-435F-AA7B-FAC458BB8D4C}" destId="{56100FA7-EA8E-4645-A2D5-4FB392098C1B}" srcOrd="1" destOrd="0" parTransId="{6D3405DF-DAE4-4EC1-9A81-ACABC3BB3595}" sibTransId="{F980629B-5FCB-4DBD-8277-0D9420011B9E}"/>
    <dgm:cxn modelId="{A6792FFA-DB82-4BA7-8546-ADE5A73D04C4}" type="presOf" srcId="{57C35D0C-7F92-4718-8A87-E171A93885C1}" destId="{33902426-98D2-4C5F-B344-ECB12B30DF14}" srcOrd="0" destOrd="0" presId="urn:microsoft.com/office/officeart/2005/8/layout/lProcess2"/>
    <dgm:cxn modelId="{B17832E6-9413-49F7-831D-A15F778E7437}" srcId="{D30C9C82-5F73-4D59-B9B3-E229F741FA6F}" destId="{9086EE2F-CF56-4C6A-8C83-9463F00E52E9}" srcOrd="2" destOrd="0" parTransId="{DD4BA8B6-8E04-4ADE-9835-E113E55E5F71}" sibTransId="{2C33B206-A233-4208-B1EA-655E664FFFD5}"/>
    <dgm:cxn modelId="{FC4A8148-E664-47CE-9519-8AC756CB533F}" type="presOf" srcId="{DE996173-CE5E-4B42-A5C6-F28968FCABCD}" destId="{9F806A33-04A3-462D-82BE-4754877F25D4}" srcOrd="0" destOrd="0" presId="urn:microsoft.com/office/officeart/2005/8/layout/lProcess2"/>
    <dgm:cxn modelId="{17B061C9-5CE0-4834-8E99-FD8984DF80E1}" type="presOf" srcId="{EEEEA0ED-1CD4-4FFB-A4BE-5EC46DE913FA}" destId="{3FD1EA50-24D0-41E4-A5CB-E0788B3D1C2C}" srcOrd="0" destOrd="0" presId="urn:microsoft.com/office/officeart/2005/8/layout/lProcess2"/>
    <dgm:cxn modelId="{D6DC3873-3575-40FE-A6B3-0A6141EDA3D8}" srcId="{D30C9C82-5F73-4D59-B9B3-E229F741FA6F}" destId="{EEEEA0ED-1CD4-4FFB-A4BE-5EC46DE913FA}" srcOrd="3" destOrd="0" parTransId="{8BAD4CD5-EE02-4EA8-A3F1-2C5C9507821E}" sibTransId="{C8B3176C-15A9-4F34-9882-16E25962D470}"/>
    <dgm:cxn modelId="{F76DB2A8-FC97-4DAC-BB3F-1878CDFF60F2}" type="presOf" srcId="{32B32922-F57F-425C-81C5-7B489134FD6F}" destId="{9AB537BC-5EFC-4167-98E8-9880C5E06780}" srcOrd="0" destOrd="0" presId="urn:microsoft.com/office/officeart/2005/8/layout/lProcess2"/>
    <dgm:cxn modelId="{DCE3B43F-1102-49CA-BFE6-BAF6ADDC02EC}" type="presParOf" srcId="{25C34C51-DD44-4CF7-9093-8E431A21B64C}" destId="{41E61EFC-DE92-4069-9BB0-5750A196C60C}" srcOrd="0" destOrd="0" presId="urn:microsoft.com/office/officeart/2005/8/layout/lProcess2"/>
    <dgm:cxn modelId="{4637BAA1-DDFA-4CEA-9047-04F1B8D62C83}" type="presParOf" srcId="{41E61EFC-DE92-4069-9BB0-5750A196C60C}" destId="{75F72EC7-A214-4FC2-8112-2BFCCF8B6826}" srcOrd="0" destOrd="0" presId="urn:microsoft.com/office/officeart/2005/8/layout/lProcess2"/>
    <dgm:cxn modelId="{4F260468-30AF-421C-A8BD-58B7D8178EAE}" type="presParOf" srcId="{41E61EFC-DE92-4069-9BB0-5750A196C60C}" destId="{9BC95D67-8633-425D-A6CB-B1E2A40B6885}" srcOrd="1" destOrd="0" presId="urn:microsoft.com/office/officeart/2005/8/layout/lProcess2"/>
    <dgm:cxn modelId="{FFF0C310-4860-4E1B-9E14-03321FFCC6F6}" type="presParOf" srcId="{41E61EFC-DE92-4069-9BB0-5750A196C60C}" destId="{6FF7FCAE-AA24-4A9C-A3D4-8D8C8C5B5519}" srcOrd="2" destOrd="0" presId="urn:microsoft.com/office/officeart/2005/8/layout/lProcess2"/>
    <dgm:cxn modelId="{AB8BA762-870B-4F3F-8F89-7B8931202D28}" type="presParOf" srcId="{6FF7FCAE-AA24-4A9C-A3D4-8D8C8C5B5519}" destId="{914B2803-74F9-4516-8EB9-0ED031387988}" srcOrd="0" destOrd="0" presId="urn:microsoft.com/office/officeart/2005/8/layout/lProcess2"/>
    <dgm:cxn modelId="{D4E72ED2-482D-4E66-8E4F-71022488E099}" type="presParOf" srcId="{914B2803-74F9-4516-8EB9-0ED031387988}" destId="{3B34FDFE-936D-483A-A038-77B8C191A391}" srcOrd="0" destOrd="0" presId="urn:microsoft.com/office/officeart/2005/8/layout/lProcess2"/>
    <dgm:cxn modelId="{56B6976D-7B93-4EBB-B6E2-C80A754EE74F}" type="presParOf" srcId="{914B2803-74F9-4516-8EB9-0ED031387988}" destId="{6A05FFFE-189A-4AF4-AC15-5CE0B1831ED1}" srcOrd="1" destOrd="0" presId="urn:microsoft.com/office/officeart/2005/8/layout/lProcess2"/>
    <dgm:cxn modelId="{D88F5878-BCAB-44DE-9381-287298E82DC2}" type="presParOf" srcId="{914B2803-74F9-4516-8EB9-0ED031387988}" destId="{BFB051E7-8CEC-45B1-B225-93CDD2D94AE0}" srcOrd="2" destOrd="0" presId="urn:microsoft.com/office/officeart/2005/8/layout/lProcess2"/>
    <dgm:cxn modelId="{A2812BF2-3C94-4C2F-95D4-C6B684FA719E}" type="presParOf" srcId="{25C34C51-DD44-4CF7-9093-8E431A21B64C}" destId="{2AAF9880-DEC7-42F6-A055-88307C3FB33D}" srcOrd="1" destOrd="0" presId="urn:microsoft.com/office/officeart/2005/8/layout/lProcess2"/>
    <dgm:cxn modelId="{AA96D30C-BD68-4FBE-9653-AA47A4D9C2AA}" type="presParOf" srcId="{25C34C51-DD44-4CF7-9093-8E431A21B64C}" destId="{FBA55374-AA05-4E23-A02F-7ED88A254A1A}" srcOrd="2" destOrd="0" presId="urn:microsoft.com/office/officeart/2005/8/layout/lProcess2"/>
    <dgm:cxn modelId="{7344749F-828E-4380-BC7C-0010434E7A84}" type="presParOf" srcId="{FBA55374-AA05-4E23-A02F-7ED88A254A1A}" destId="{B423EEEF-7E0C-4065-8F0A-7BE9E962D0A4}" srcOrd="0" destOrd="0" presId="urn:microsoft.com/office/officeart/2005/8/layout/lProcess2"/>
    <dgm:cxn modelId="{1DD7B0A4-0488-4949-901D-860A14D5D520}" type="presParOf" srcId="{FBA55374-AA05-4E23-A02F-7ED88A254A1A}" destId="{BD9F3F95-002F-44A9-A237-DD1201CCC13B}" srcOrd="1" destOrd="0" presId="urn:microsoft.com/office/officeart/2005/8/layout/lProcess2"/>
    <dgm:cxn modelId="{2493D1F4-9B2E-49A2-BEFD-13A6442D44F5}" type="presParOf" srcId="{FBA55374-AA05-4E23-A02F-7ED88A254A1A}" destId="{334FD5FC-2142-4BFF-ABD7-BA0CD193C5EE}" srcOrd="2" destOrd="0" presId="urn:microsoft.com/office/officeart/2005/8/layout/lProcess2"/>
    <dgm:cxn modelId="{110B6F60-FF4F-418B-827F-A8C5BAE8D619}" type="presParOf" srcId="{334FD5FC-2142-4BFF-ABD7-BA0CD193C5EE}" destId="{EF646CFA-9D0D-4B8A-900A-296C93D09BBE}" srcOrd="0" destOrd="0" presId="urn:microsoft.com/office/officeart/2005/8/layout/lProcess2"/>
    <dgm:cxn modelId="{420F0D36-5EAF-478A-994E-18A4B4FB6864}" type="presParOf" srcId="{EF646CFA-9D0D-4B8A-900A-296C93D09BBE}" destId="{53CBDECD-13FB-4995-8522-8389D79508BF}" srcOrd="0" destOrd="0" presId="urn:microsoft.com/office/officeart/2005/8/layout/lProcess2"/>
    <dgm:cxn modelId="{2D4B63D6-B099-45A9-BB50-FA4ACFC00B36}" type="presParOf" srcId="{25C34C51-DD44-4CF7-9093-8E431A21B64C}" destId="{435ED84E-9F11-469F-AFFD-7AEF74B954E2}" srcOrd="3" destOrd="0" presId="urn:microsoft.com/office/officeart/2005/8/layout/lProcess2"/>
    <dgm:cxn modelId="{91884D75-C2C1-42B7-99F8-0DA24A2743FC}" type="presParOf" srcId="{25C34C51-DD44-4CF7-9093-8E431A21B64C}" destId="{BF461080-0B43-456B-BB35-CD839CBB07C7}" srcOrd="4" destOrd="0" presId="urn:microsoft.com/office/officeart/2005/8/layout/lProcess2"/>
    <dgm:cxn modelId="{3922FFB3-7B89-4DC0-A3B7-B9DCBC5149A6}" type="presParOf" srcId="{BF461080-0B43-456B-BB35-CD839CBB07C7}" destId="{5B50CB7B-9099-49D3-ABC7-125DCA43CCD9}" srcOrd="0" destOrd="0" presId="urn:microsoft.com/office/officeart/2005/8/layout/lProcess2"/>
    <dgm:cxn modelId="{87FF0098-DE8C-4722-8A2A-30B571685E49}" type="presParOf" srcId="{BF461080-0B43-456B-BB35-CD839CBB07C7}" destId="{F458E3B3-8840-443F-A49D-0A54B25C98B1}" srcOrd="1" destOrd="0" presId="urn:microsoft.com/office/officeart/2005/8/layout/lProcess2"/>
    <dgm:cxn modelId="{08411C61-15FA-4EC8-B322-892534E6968D}" type="presParOf" srcId="{BF461080-0B43-456B-BB35-CD839CBB07C7}" destId="{72E0329F-54E8-4B50-B239-4C9E64591AD9}" srcOrd="2" destOrd="0" presId="urn:microsoft.com/office/officeart/2005/8/layout/lProcess2"/>
    <dgm:cxn modelId="{46BA41D3-25FA-4D1C-8E9B-54AC23ADBB9C}" type="presParOf" srcId="{72E0329F-54E8-4B50-B239-4C9E64591AD9}" destId="{47CA0823-EB26-4EDA-8963-0AF2F4876C61}" srcOrd="0" destOrd="0" presId="urn:microsoft.com/office/officeart/2005/8/layout/lProcess2"/>
    <dgm:cxn modelId="{567A590E-8EFD-4C8B-B8DC-8AB055CC8C66}" type="presParOf" srcId="{47CA0823-EB26-4EDA-8963-0AF2F4876C61}" destId="{151886D5-CCC7-40B3-ADF2-E15F7549D071}" srcOrd="0" destOrd="0" presId="urn:microsoft.com/office/officeart/2005/8/layout/lProcess2"/>
    <dgm:cxn modelId="{F1FA3661-1AB0-467A-AF81-C10C76296386}" type="presParOf" srcId="{47CA0823-EB26-4EDA-8963-0AF2F4876C61}" destId="{425CACBE-8A46-45B0-B7C3-8AA2DDAF1808}" srcOrd="1" destOrd="0" presId="urn:microsoft.com/office/officeart/2005/8/layout/lProcess2"/>
    <dgm:cxn modelId="{A4378C7F-6E35-4BB8-9C81-ADBB2B056210}" type="presParOf" srcId="{47CA0823-EB26-4EDA-8963-0AF2F4876C61}" destId="{824B1A43-2E82-4AFD-9582-0A8D524DF600}" srcOrd="2" destOrd="0" presId="urn:microsoft.com/office/officeart/2005/8/layout/lProcess2"/>
    <dgm:cxn modelId="{A9F8C22C-44E8-4118-BF3F-D3523D0754BE}" type="presParOf" srcId="{47CA0823-EB26-4EDA-8963-0AF2F4876C61}" destId="{59EF5DF4-DF77-430F-8552-813716260EAF}" srcOrd="3" destOrd="0" presId="urn:microsoft.com/office/officeart/2005/8/layout/lProcess2"/>
    <dgm:cxn modelId="{DF860683-5E05-4F92-8E08-EDCAC36CB15B}" type="presParOf" srcId="{47CA0823-EB26-4EDA-8963-0AF2F4876C61}" destId="{83E5EBA2-F89A-4AE7-934E-E040A027D4E3}" srcOrd="4" destOrd="0" presId="urn:microsoft.com/office/officeart/2005/8/layout/lProcess2"/>
    <dgm:cxn modelId="{C1DCBDE4-A893-4813-B947-257DE553C406}" type="presParOf" srcId="{47CA0823-EB26-4EDA-8963-0AF2F4876C61}" destId="{FA09C398-A1AE-4413-BDBC-ECF1102E4612}" srcOrd="5" destOrd="0" presId="urn:microsoft.com/office/officeart/2005/8/layout/lProcess2"/>
    <dgm:cxn modelId="{AD399B5A-432B-418E-9FED-616AAC601B37}" type="presParOf" srcId="{47CA0823-EB26-4EDA-8963-0AF2F4876C61}" destId="{3FD1EA50-24D0-41E4-A5CB-E0788B3D1C2C}" srcOrd="6" destOrd="0" presId="urn:microsoft.com/office/officeart/2005/8/layout/lProcess2"/>
    <dgm:cxn modelId="{E61ABFF6-0610-4D3E-BD47-CA7B2EFB812E}" type="presParOf" srcId="{47CA0823-EB26-4EDA-8963-0AF2F4876C61}" destId="{5A4449D6-7296-4986-B6BF-6929FA93E7EA}" srcOrd="7" destOrd="0" presId="urn:microsoft.com/office/officeart/2005/8/layout/lProcess2"/>
    <dgm:cxn modelId="{CE58FF5D-19CF-4C46-9ECF-C8FAC4C1749A}" type="presParOf" srcId="{47CA0823-EB26-4EDA-8963-0AF2F4876C61}" destId="{C9B9C669-4F94-43A1-AFFB-C021C3930597}" srcOrd="8" destOrd="0" presId="urn:microsoft.com/office/officeart/2005/8/layout/lProcess2"/>
    <dgm:cxn modelId="{75B8C6BC-BB5A-4171-A3D2-380DDB81005F}" type="presParOf" srcId="{47CA0823-EB26-4EDA-8963-0AF2F4876C61}" destId="{FAC9E975-AE01-4047-9B57-C6A8086D65D2}" srcOrd="9" destOrd="0" presId="urn:microsoft.com/office/officeart/2005/8/layout/lProcess2"/>
    <dgm:cxn modelId="{5884304E-AC1A-4D3B-A6AE-353AD995F9DA}" type="presParOf" srcId="{47CA0823-EB26-4EDA-8963-0AF2F4876C61}" destId="{2B532FF6-446A-40B1-9C64-224BDEEC6DD9}" srcOrd="10" destOrd="0" presId="urn:microsoft.com/office/officeart/2005/8/layout/lProcess2"/>
    <dgm:cxn modelId="{A292799E-16FE-4880-959A-9D9745E192D0}" type="presParOf" srcId="{25C34C51-DD44-4CF7-9093-8E431A21B64C}" destId="{14EA66DA-9563-471A-A3A3-6A2D8C3F1628}" srcOrd="5" destOrd="0" presId="urn:microsoft.com/office/officeart/2005/8/layout/lProcess2"/>
    <dgm:cxn modelId="{E5501370-0027-4711-8DDD-48AAC2A5885E}" type="presParOf" srcId="{25C34C51-DD44-4CF7-9093-8E431A21B64C}" destId="{B2301018-2F06-4F06-9E00-4EEF07BF2985}" srcOrd="6" destOrd="0" presId="urn:microsoft.com/office/officeart/2005/8/layout/lProcess2"/>
    <dgm:cxn modelId="{28AD5430-2E69-4EF2-B87A-8837DEAB51BE}" type="presParOf" srcId="{B2301018-2F06-4F06-9E00-4EEF07BF2985}" destId="{DA9E3B09-B218-424D-9A9E-6C0B281596BB}" srcOrd="0" destOrd="0" presId="urn:microsoft.com/office/officeart/2005/8/layout/lProcess2"/>
    <dgm:cxn modelId="{4CCA5919-1689-434E-9965-E521608D1B4D}" type="presParOf" srcId="{B2301018-2F06-4F06-9E00-4EEF07BF2985}" destId="{68FFAE6F-B486-4243-A4E4-D6B83F3889E1}" srcOrd="1" destOrd="0" presId="urn:microsoft.com/office/officeart/2005/8/layout/lProcess2"/>
    <dgm:cxn modelId="{E8CC872D-3502-44BC-9080-9136FD6EFCEE}" type="presParOf" srcId="{B2301018-2F06-4F06-9E00-4EEF07BF2985}" destId="{2EC5A395-4991-4ECC-8BB6-B01E2DA81DD9}" srcOrd="2" destOrd="0" presId="urn:microsoft.com/office/officeart/2005/8/layout/lProcess2"/>
    <dgm:cxn modelId="{1B2B4F8C-8E24-4F61-BC07-2E701F51B4ED}" type="presParOf" srcId="{2EC5A395-4991-4ECC-8BB6-B01E2DA81DD9}" destId="{58BE74C3-ED77-45FE-8DB2-9CF623DCDF23}" srcOrd="0" destOrd="0" presId="urn:microsoft.com/office/officeart/2005/8/layout/lProcess2"/>
    <dgm:cxn modelId="{6E234488-FA77-4ACB-A143-D894B3549529}" type="presParOf" srcId="{58BE74C3-ED77-45FE-8DB2-9CF623DCDF23}" destId="{9AB537BC-5EFC-4167-98E8-9880C5E06780}" srcOrd="0" destOrd="0" presId="urn:microsoft.com/office/officeart/2005/8/layout/lProcess2"/>
    <dgm:cxn modelId="{B652CE64-1F11-4B7A-9695-C7A3FABAA075}" type="presParOf" srcId="{58BE74C3-ED77-45FE-8DB2-9CF623DCDF23}" destId="{F91A7A75-16B6-483F-BD45-70BC469E194E}" srcOrd="1" destOrd="0" presId="urn:microsoft.com/office/officeart/2005/8/layout/lProcess2"/>
    <dgm:cxn modelId="{6E1C690B-9C35-4609-9A60-3126FECB81EB}" type="presParOf" srcId="{58BE74C3-ED77-45FE-8DB2-9CF623DCDF23}" destId="{8711490B-129F-4F44-A001-F232EB36D77B}" srcOrd="2" destOrd="0" presId="urn:microsoft.com/office/officeart/2005/8/layout/lProcess2"/>
    <dgm:cxn modelId="{C7192C3C-4313-4585-B7A3-6F53EF4D2143}" type="presParOf" srcId="{25C34C51-DD44-4CF7-9093-8E431A21B64C}" destId="{FAD4CD09-E63E-4CEB-BCC6-BD662761AA43}" srcOrd="7" destOrd="0" presId="urn:microsoft.com/office/officeart/2005/8/layout/lProcess2"/>
    <dgm:cxn modelId="{CD609B22-9C53-43FD-9CA3-5296211D8648}" type="presParOf" srcId="{25C34C51-DD44-4CF7-9093-8E431A21B64C}" destId="{FA0A4179-4377-49FC-B5D9-8DDF58EDB992}" srcOrd="8" destOrd="0" presId="urn:microsoft.com/office/officeart/2005/8/layout/lProcess2"/>
    <dgm:cxn modelId="{94747529-C388-4844-880E-B1D9386EF4C7}" type="presParOf" srcId="{FA0A4179-4377-49FC-B5D9-8DDF58EDB992}" destId="{33902426-98D2-4C5F-B344-ECB12B30DF14}" srcOrd="0" destOrd="0" presId="urn:microsoft.com/office/officeart/2005/8/layout/lProcess2"/>
    <dgm:cxn modelId="{2F52E219-16FC-458E-9A09-3AC3C6DFFA49}" type="presParOf" srcId="{FA0A4179-4377-49FC-B5D9-8DDF58EDB992}" destId="{85080EB8-B3BC-4350-88A4-B327CA220135}" srcOrd="1" destOrd="0" presId="urn:microsoft.com/office/officeart/2005/8/layout/lProcess2"/>
    <dgm:cxn modelId="{578DFD51-924F-4D05-B991-116E91B0BE4A}" type="presParOf" srcId="{FA0A4179-4377-49FC-B5D9-8DDF58EDB992}" destId="{F51EB130-51B4-4231-A4E7-6491FC7ED981}" srcOrd="2" destOrd="0" presId="urn:microsoft.com/office/officeart/2005/8/layout/lProcess2"/>
    <dgm:cxn modelId="{0FEF3D82-05CF-47DA-9928-40F2160DF179}" type="presParOf" srcId="{F51EB130-51B4-4231-A4E7-6491FC7ED981}" destId="{897C06CC-AC9A-4CB7-AF03-47D9C162254B}" srcOrd="0" destOrd="0" presId="urn:microsoft.com/office/officeart/2005/8/layout/lProcess2"/>
    <dgm:cxn modelId="{D4D93417-CA55-4906-A273-A04F8D3B60AD}" type="presParOf" srcId="{897C06CC-AC9A-4CB7-AF03-47D9C162254B}" destId="{A0DCFAD7-28D4-46EE-ACEA-4B2AF9D93A12}" srcOrd="0" destOrd="0" presId="urn:microsoft.com/office/officeart/2005/8/layout/lProcess2"/>
    <dgm:cxn modelId="{0800577A-86CE-4BCE-A3EE-6187556B838F}" type="presParOf" srcId="{897C06CC-AC9A-4CB7-AF03-47D9C162254B}" destId="{24273307-DCE9-4397-A390-B15DBF992A76}" srcOrd="1" destOrd="0" presId="urn:microsoft.com/office/officeart/2005/8/layout/lProcess2"/>
    <dgm:cxn modelId="{8E88E01B-6100-450A-992B-BD4C93C28A55}" type="presParOf" srcId="{897C06CC-AC9A-4CB7-AF03-47D9C162254B}" destId="{9F806A33-04A3-462D-82BE-4754877F25D4}" srcOrd="2" destOrd="0" presId="urn:microsoft.com/office/officeart/2005/8/layout/lProcess2"/>
    <dgm:cxn modelId="{216B5ACD-7666-41AA-BFFE-FF36A60D0ADC}" type="presParOf" srcId="{897C06CC-AC9A-4CB7-AF03-47D9C162254B}" destId="{BD008205-D4F9-4DF0-8B4D-048717281EAD}" srcOrd="3" destOrd="0" presId="urn:microsoft.com/office/officeart/2005/8/layout/lProcess2"/>
    <dgm:cxn modelId="{D367CF1B-D489-4BAA-B95A-1529F767195F}" type="presParOf" srcId="{897C06CC-AC9A-4CB7-AF03-47D9C162254B}" destId="{547637A4-02C2-44C6-B735-CDB198F9153D}" srcOrd="4"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CE73B2F-FAFD-4EEE-A9FF-F6D4F373E706}"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113DA095-5452-435F-AA7B-FAC458BB8D4C}">
      <dgm:prSet phldrT="[Text]" custT="1"/>
      <dgm:spPr/>
      <dgm:t>
        <a:bodyPr/>
        <a:lstStyle/>
        <a:p>
          <a:r>
            <a:rPr lang="en-ZA" sz="1800" dirty="0"/>
            <a:t>Financial Planning and Budgeting</a:t>
          </a:r>
          <a:endParaRPr lang="en-US" sz="1800" dirty="0"/>
        </a:p>
      </dgm:t>
    </dgm:pt>
    <dgm:pt modelId="{E31D0E47-44FC-4AE4-9A0A-AEA0EA75B572}" type="parTrans" cxnId="{8645382B-5C53-424A-98C2-B96FE08A5ED5}">
      <dgm:prSet/>
      <dgm:spPr/>
      <dgm:t>
        <a:bodyPr/>
        <a:lstStyle/>
        <a:p>
          <a:endParaRPr lang="en-US"/>
        </a:p>
      </dgm:t>
    </dgm:pt>
    <dgm:pt modelId="{BC43D459-43C0-4F28-A88F-E13599987487}" type="sibTrans" cxnId="{8645382B-5C53-424A-98C2-B96FE08A5ED5}">
      <dgm:prSet/>
      <dgm:spPr/>
      <dgm:t>
        <a:bodyPr/>
        <a:lstStyle/>
        <a:p>
          <a:endParaRPr lang="en-US"/>
        </a:p>
      </dgm:t>
    </dgm:pt>
    <dgm:pt modelId="{1734ACA3-103F-4DB8-B73C-4461B2906292}">
      <dgm:prSet phldrT="[Text]" custT="1"/>
      <dgm:spPr>
        <a:solidFill>
          <a:srgbClr val="92D050"/>
        </a:solidFill>
      </dgm:spPr>
      <dgm:t>
        <a:bodyPr/>
        <a:lstStyle/>
        <a:p>
          <a:r>
            <a:rPr lang="en-US" sz="1100" b="1" dirty="0">
              <a:solidFill>
                <a:schemeClr val="tx1"/>
              </a:solidFill>
            </a:rPr>
            <a:t/>
          </a:r>
          <a:br>
            <a:rPr lang="en-US" sz="1100" b="1" dirty="0">
              <a:solidFill>
                <a:schemeClr val="tx1"/>
              </a:solidFill>
            </a:rPr>
          </a:br>
          <a:r>
            <a:rPr lang="en-US" sz="1400" b="1" dirty="0">
              <a:solidFill>
                <a:schemeClr val="tx1"/>
              </a:solidFill>
            </a:rPr>
            <a:t>WCS</a:t>
          </a:r>
          <a:endParaRPr lang="en-US" sz="1100" b="1" dirty="0">
            <a:solidFill>
              <a:schemeClr val="tx1"/>
            </a:solidFill>
          </a:endParaRPr>
        </a:p>
      </dgm:t>
    </dgm:pt>
    <dgm:pt modelId="{90473797-7122-4780-B5C7-374FFE89A446}" type="parTrans" cxnId="{E9EBC4E6-0835-4B29-B4C7-CE1D9A5A0E6D}">
      <dgm:prSet/>
      <dgm:spPr/>
      <dgm:t>
        <a:bodyPr/>
        <a:lstStyle/>
        <a:p>
          <a:endParaRPr lang="en-US"/>
        </a:p>
      </dgm:t>
    </dgm:pt>
    <dgm:pt modelId="{DAADA45B-56BE-46D4-926F-61C1A02B4C15}" type="sibTrans" cxnId="{E9EBC4E6-0835-4B29-B4C7-CE1D9A5A0E6D}">
      <dgm:prSet/>
      <dgm:spPr/>
      <dgm:t>
        <a:bodyPr/>
        <a:lstStyle/>
        <a:p>
          <a:endParaRPr lang="en-US"/>
        </a:p>
      </dgm:t>
    </dgm:pt>
    <dgm:pt modelId="{0DE8DE8A-0884-4410-AFA9-9664481B5571}">
      <dgm:prSet phldrT="[Text]" custT="1"/>
      <dgm:spPr/>
      <dgm:t>
        <a:bodyPr/>
        <a:lstStyle/>
        <a:p>
          <a:r>
            <a:rPr lang="en-ZA" sz="1800" dirty="0"/>
            <a:t>Revenue and Debt Management</a:t>
          </a:r>
          <a:endParaRPr lang="en-US" sz="1800" dirty="0"/>
        </a:p>
      </dgm:t>
    </dgm:pt>
    <dgm:pt modelId="{71B102B8-9C4B-4AA1-8CB5-FC934F7222BC}" type="parTrans" cxnId="{14EAE25E-3A90-44FA-9983-C9E591ACA0BA}">
      <dgm:prSet/>
      <dgm:spPr/>
      <dgm:t>
        <a:bodyPr/>
        <a:lstStyle/>
        <a:p>
          <a:endParaRPr lang="en-US"/>
        </a:p>
      </dgm:t>
    </dgm:pt>
    <dgm:pt modelId="{DCA1C4F9-08AF-4DC7-A94B-0A0464A55DCC}" type="sibTrans" cxnId="{14EAE25E-3A90-44FA-9983-C9E591ACA0BA}">
      <dgm:prSet/>
      <dgm:spPr/>
      <dgm:t>
        <a:bodyPr/>
        <a:lstStyle/>
        <a:p>
          <a:endParaRPr lang="en-US"/>
        </a:p>
      </dgm:t>
    </dgm:pt>
    <dgm:pt modelId="{07A320B2-817A-4A40-8A35-3FB929D5E65E}">
      <dgm:prSet phldrT="[Text]" custT="1"/>
      <dgm:spPr>
        <a:solidFill>
          <a:schemeClr val="accent3"/>
        </a:solidFill>
      </dgm:spPr>
      <dgm:t>
        <a:bodyPr/>
        <a:lstStyle/>
        <a:p>
          <a:r>
            <a:rPr lang="en-US" sz="1400" b="1" dirty="0">
              <a:solidFill>
                <a:schemeClr val="tx1"/>
              </a:solidFill>
            </a:rPr>
            <a:t>Archibus</a:t>
          </a:r>
          <a:endParaRPr lang="en-US" sz="1100" b="1" dirty="0">
            <a:solidFill>
              <a:schemeClr val="tx1"/>
            </a:solidFill>
          </a:endParaRPr>
        </a:p>
      </dgm:t>
    </dgm:pt>
    <dgm:pt modelId="{C8D9C16C-7E42-42A8-9F02-D91B92632D00}" type="parTrans" cxnId="{859A6BBE-D3C9-4332-BA98-B211EB83C8C3}">
      <dgm:prSet/>
      <dgm:spPr/>
      <dgm:t>
        <a:bodyPr/>
        <a:lstStyle/>
        <a:p>
          <a:endParaRPr lang="en-US"/>
        </a:p>
      </dgm:t>
    </dgm:pt>
    <dgm:pt modelId="{90226AF9-5EA2-4FFF-BC1B-8A5A054F2A6D}" type="sibTrans" cxnId="{859A6BBE-D3C9-4332-BA98-B211EB83C8C3}">
      <dgm:prSet/>
      <dgm:spPr/>
      <dgm:t>
        <a:bodyPr/>
        <a:lstStyle/>
        <a:p>
          <a:endParaRPr lang="en-US"/>
        </a:p>
      </dgm:t>
    </dgm:pt>
    <dgm:pt modelId="{D30C9C82-5F73-4D59-B9B3-E229F741FA6F}">
      <dgm:prSet phldrT="[Text]" custT="1"/>
      <dgm:spPr/>
      <dgm:t>
        <a:bodyPr/>
        <a:lstStyle/>
        <a:p>
          <a:r>
            <a:rPr lang="en-ZA" sz="1800" dirty="0"/>
            <a:t>Accounts Payable and Cash Management</a:t>
          </a:r>
          <a:endParaRPr lang="en-US" sz="1800" dirty="0"/>
        </a:p>
      </dgm:t>
    </dgm:pt>
    <dgm:pt modelId="{65CFCADE-B126-49FE-93E5-95A98E25A73A}" type="parTrans" cxnId="{0AB86B1E-BD4B-44C9-9891-3893F431CA0D}">
      <dgm:prSet/>
      <dgm:spPr/>
      <dgm:t>
        <a:bodyPr/>
        <a:lstStyle/>
        <a:p>
          <a:endParaRPr lang="en-US"/>
        </a:p>
      </dgm:t>
    </dgm:pt>
    <dgm:pt modelId="{B3307AB8-2739-4523-B9B0-FFD77925BB40}" type="sibTrans" cxnId="{0AB86B1E-BD4B-44C9-9891-3893F431CA0D}">
      <dgm:prSet/>
      <dgm:spPr/>
      <dgm:t>
        <a:bodyPr/>
        <a:lstStyle/>
        <a:p>
          <a:endParaRPr lang="en-US"/>
        </a:p>
      </dgm:t>
    </dgm:pt>
    <dgm:pt modelId="{F0CA0E10-7139-48FD-8EB1-D4F68DC4AA7F}">
      <dgm:prSet phldrT="[Text]" custT="1"/>
      <dgm:spPr>
        <a:solidFill>
          <a:srgbClr val="FF9933"/>
        </a:solidFill>
      </dgm:spPr>
      <dgm:t>
        <a:bodyPr/>
        <a:lstStyle/>
        <a:p>
          <a:r>
            <a:rPr lang="en-US" sz="1400" b="1" dirty="0">
              <a:solidFill>
                <a:schemeClr val="tx1"/>
              </a:solidFill>
            </a:rPr>
            <a:t>SAGE</a:t>
          </a:r>
          <a:endParaRPr lang="en-US" sz="1100" b="1" dirty="0">
            <a:solidFill>
              <a:schemeClr val="tx1"/>
            </a:solidFill>
          </a:endParaRPr>
        </a:p>
      </dgm:t>
    </dgm:pt>
    <dgm:pt modelId="{05B39971-795A-4714-AA50-D06E27350C61}" type="parTrans" cxnId="{E83D6BFF-9D62-40D8-999C-48A4A990AB0A}">
      <dgm:prSet/>
      <dgm:spPr/>
      <dgm:t>
        <a:bodyPr/>
        <a:lstStyle/>
        <a:p>
          <a:endParaRPr lang="en-US"/>
        </a:p>
      </dgm:t>
    </dgm:pt>
    <dgm:pt modelId="{B089E659-ADCA-4F3D-9E9C-0E8A293F1B27}" type="sibTrans" cxnId="{E83D6BFF-9D62-40D8-999C-48A4A990AB0A}">
      <dgm:prSet/>
      <dgm:spPr/>
      <dgm:t>
        <a:bodyPr/>
        <a:lstStyle/>
        <a:p>
          <a:endParaRPr lang="en-US"/>
        </a:p>
      </dgm:t>
    </dgm:pt>
    <dgm:pt modelId="{FBCEEB1D-63C6-4FAA-BAC3-833F14A4CCDC}">
      <dgm:prSet phldrT="[Text]" custT="1"/>
      <dgm:spPr/>
      <dgm:t>
        <a:bodyPr/>
        <a:lstStyle/>
        <a:p>
          <a:r>
            <a:rPr lang="en-ZA" sz="1800" dirty="0"/>
            <a:t>Financial Accounting</a:t>
          </a:r>
          <a:endParaRPr lang="en-US" sz="1800" dirty="0"/>
        </a:p>
      </dgm:t>
    </dgm:pt>
    <dgm:pt modelId="{08789181-01B1-434A-898C-A4D4E2884DF7}" type="parTrans" cxnId="{991408F1-5F5D-4372-9682-B599809060D5}">
      <dgm:prSet/>
      <dgm:spPr/>
      <dgm:t>
        <a:bodyPr/>
        <a:lstStyle/>
        <a:p>
          <a:endParaRPr lang="en-US"/>
        </a:p>
      </dgm:t>
    </dgm:pt>
    <dgm:pt modelId="{7A6D933C-730A-4CEF-9846-5F567273BACA}" type="sibTrans" cxnId="{991408F1-5F5D-4372-9682-B599809060D5}">
      <dgm:prSet/>
      <dgm:spPr/>
      <dgm:t>
        <a:bodyPr/>
        <a:lstStyle/>
        <a:p>
          <a:endParaRPr lang="en-US"/>
        </a:p>
      </dgm:t>
    </dgm:pt>
    <dgm:pt modelId="{57C35D0C-7F92-4718-8A87-E171A93885C1}">
      <dgm:prSet phldrT="[Text]" custT="1"/>
      <dgm:spPr/>
      <dgm:t>
        <a:bodyPr/>
        <a:lstStyle/>
        <a:p>
          <a:r>
            <a:rPr lang="en-ZA" sz="1800" dirty="0"/>
            <a:t>Financial Reporting</a:t>
          </a:r>
          <a:endParaRPr lang="en-US" sz="1800" dirty="0"/>
        </a:p>
      </dgm:t>
    </dgm:pt>
    <dgm:pt modelId="{5767DDCA-F48C-4FDA-8498-70CEFBEFF091}" type="parTrans" cxnId="{FA7BF276-86A4-4D9F-BC22-7F3D57D1D831}">
      <dgm:prSet/>
      <dgm:spPr/>
      <dgm:t>
        <a:bodyPr/>
        <a:lstStyle/>
        <a:p>
          <a:endParaRPr lang="en-US"/>
        </a:p>
      </dgm:t>
    </dgm:pt>
    <dgm:pt modelId="{8E468EB9-6190-49FB-9DD9-CAD5851BE663}" type="sibTrans" cxnId="{FA7BF276-86A4-4D9F-BC22-7F3D57D1D831}">
      <dgm:prSet/>
      <dgm:spPr/>
      <dgm:t>
        <a:bodyPr/>
        <a:lstStyle/>
        <a:p>
          <a:endParaRPr lang="en-US"/>
        </a:p>
      </dgm:t>
    </dgm:pt>
    <dgm:pt modelId="{0B9FBEB6-F1D5-4CBB-8AB4-92C654D25F49}">
      <dgm:prSet phldrT="[Text]" custT="1"/>
      <dgm:spPr>
        <a:solidFill>
          <a:srgbClr val="92D050"/>
        </a:solidFill>
      </dgm:spPr>
      <dgm:t>
        <a:bodyPr/>
        <a:lstStyle/>
        <a:p>
          <a:r>
            <a:rPr lang="en-US" sz="1400" b="1" dirty="0">
              <a:solidFill>
                <a:schemeClr val="tx1"/>
              </a:solidFill>
            </a:rPr>
            <a:t>WCS</a:t>
          </a:r>
        </a:p>
      </dgm:t>
    </dgm:pt>
    <dgm:pt modelId="{186CA2F9-9694-433A-82BE-63AFECB555C4}" type="parTrans" cxnId="{AD6D0465-7EA1-497F-900B-A1D9B6AE71ED}">
      <dgm:prSet/>
      <dgm:spPr/>
      <dgm:t>
        <a:bodyPr/>
        <a:lstStyle/>
        <a:p>
          <a:endParaRPr lang="en-US"/>
        </a:p>
      </dgm:t>
    </dgm:pt>
    <dgm:pt modelId="{6514BD0E-572C-418B-B162-CE4D383D7C7F}" type="sibTrans" cxnId="{AD6D0465-7EA1-497F-900B-A1D9B6AE71ED}">
      <dgm:prSet/>
      <dgm:spPr/>
      <dgm:t>
        <a:bodyPr/>
        <a:lstStyle/>
        <a:p>
          <a:endParaRPr lang="en-US"/>
        </a:p>
      </dgm:t>
    </dgm:pt>
    <dgm:pt modelId="{D3CF4AFB-04A6-40F3-BAD7-7C443A0557E9}">
      <dgm:prSet phldrT="[Text]" custT="1"/>
      <dgm:spPr/>
      <dgm:t>
        <a:bodyPr/>
        <a:lstStyle/>
        <a:p>
          <a:r>
            <a:rPr lang="en-ZA" sz="1800" dirty="0"/>
            <a:t>Payroll Management</a:t>
          </a:r>
          <a:endParaRPr lang="en-US" sz="1800" dirty="0"/>
        </a:p>
      </dgm:t>
    </dgm:pt>
    <dgm:pt modelId="{FCE8B2A3-0428-4A81-B8E5-9045C8A92D06}" type="parTrans" cxnId="{B7E53F0C-A035-4A90-A5EF-F87FE1C2F42C}">
      <dgm:prSet/>
      <dgm:spPr/>
      <dgm:t>
        <a:bodyPr/>
        <a:lstStyle/>
        <a:p>
          <a:endParaRPr lang="en-US"/>
        </a:p>
      </dgm:t>
    </dgm:pt>
    <dgm:pt modelId="{6F88E96E-33DA-440E-86CC-2097FF481004}" type="sibTrans" cxnId="{B7E53F0C-A035-4A90-A5EF-F87FE1C2F42C}">
      <dgm:prSet/>
      <dgm:spPr/>
      <dgm:t>
        <a:bodyPr/>
        <a:lstStyle/>
        <a:p>
          <a:endParaRPr lang="en-US"/>
        </a:p>
      </dgm:t>
    </dgm:pt>
    <dgm:pt modelId="{2D4B55E7-0F00-402F-86CD-08C6FF4DFB64}">
      <dgm:prSet phldrT="[Text]" custT="1"/>
      <dgm:spPr>
        <a:solidFill>
          <a:srgbClr val="FF9933"/>
        </a:solidFill>
      </dgm:spPr>
      <dgm:t>
        <a:bodyPr/>
        <a:lstStyle/>
        <a:p>
          <a:r>
            <a:rPr lang="en-US" sz="1400" b="1" dirty="0">
              <a:solidFill>
                <a:schemeClr val="tx1"/>
              </a:solidFill>
            </a:rPr>
            <a:t>SAGE</a:t>
          </a:r>
        </a:p>
      </dgm:t>
    </dgm:pt>
    <dgm:pt modelId="{5428C88F-3491-42D8-9C55-A76E45A769C1}" type="parTrans" cxnId="{165B0FAF-1576-488E-A8EA-B6E494962CE8}">
      <dgm:prSet/>
      <dgm:spPr/>
      <dgm:t>
        <a:bodyPr/>
        <a:lstStyle/>
        <a:p>
          <a:endParaRPr lang="en-US"/>
        </a:p>
      </dgm:t>
    </dgm:pt>
    <dgm:pt modelId="{DF0627AA-5695-418A-A2C1-C7B1C227487E}" type="sibTrans" cxnId="{165B0FAF-1576-488E-A8EA-B6E494962CE8}">
      <dgm:prSet/>
      <dgm:spPr/>
      <dgm:t>
        <a:bodyPr/>
        <a:lstStyle/>
        <a:p>
          <a:endParaRPr lang="en-US"/>
        </a:p>
      </dgm:t>
    </dgm:pt>
    <dgm:pt modelId="{01823027-A3B9-491C-8EFA-AC62089F45B5}">
      <dgm:prSet phldrT="[Text]" custT="1"/>
      <dgm:spPr>
        <a:solidFill>
          <a:srgbClr val="FF9933"/>
        </a:solidFill>
      </dgm:spPr>
      <dgm:t>
        <a:bodyPr/>
        <a:lstStyle/>
        <a:p>
          <a:r>
            <a:rPr lang="en-US" sz="1100" b="1" dirty="0">
              <a:solidFill>
                <a:schemeClr val="tx1"/>
              </a:solidFill>
            </a:rPr>
            <a:t/>
          </a:r>
          <a:br>
            <a:rPr lang="en-US" sz="1100" b="1" dirty="0">
              <a:solidFill>
                <a:schemeClr val="tx1"/>
              </a:solidFill>
            </a:rPr>
          </a:br>
          <a:r>
            <a:rPr lang="en-US" sz="1400" b="1" dirty="0">
              <a:solidFill>
                <a:schemeClr val="tx1"/>
              </a:solidFill>
            </a:rPr>
            <a:t>SAGE</a:t>
          </a:r>
          <a:endParaRPr lang="en-US" sz="1100" b="1" dirty="0">
            <a:solidFill>
              <a:schemeClr val="tx1"/>
            </a:solidFill>
          </a:endParaRPr>
        </a:p>
      </dgm:t>
    </dgm:pt>
    <dgm:pt modelId="{D36BFEEF-83D8-4FEF-9267-FE88D873CEBE}" type="parTrans" cxnId="{8CB09DDD-F332-437E-9AA0-55F5738AF9B4}">
      <dgm:prSet/>
      <dgm:spPr/>
      <dgm:t>
        <a:bodyPr/>
        <a:lstStyle/>
        <a:p>
          <a:endParaRPr lang="en-US"/>
        </a:p>
      </dgm:t>
    </dgm:pt>
    <dgm:pt modelId="{AB8E6864-41FC-48A3-AEEB-AE517684FFB5}" type="sibTrans" cxnId="{8CB09DDD-F332-437E-9AA0-55F5738AF9B4}">
      <dgm:prSet/>
      <dgm:spPr/>
      <dgm:t>
        <a:bodyPr/>
        <a:lstStyle/>
        <a:p>
          <a:endParaRPr lang="en-US"/>
        </a:p>
      </dgm:t>
    </dgm:pt>
    <dgm:pt modelId="{9A684ABE-2C68-4DC0-9010-F47817BB1CE6}">
      <dgm:prSet phldrT="[Text]" custT="1"/>
      <dgm:spPr>
        <a:solidFill>
          <a:srgbClr val="FF9933"/>
        </a:solidFill>
      </dgm:spPr>
      <dgm:t>
        <a:bodyPr/>
        <a:lstStyle/>
        <a:p>
          <a:r>
            <a:rPr lang="en-US" sz="1400" b="1" dirty="0">
              <a:solidFill>
                <a:schemeClr val="tx1"/>
              </a:solidFill>
            </a:rPr>
            <a:t>SAGE</a:t>
          </a:r>
          <a:endParaRPr lang="en-US" sz="1100" b="1" dirty="0">
            <a:solidFill>
              <a:schemeClr val="tx1"/>
            </a:solidFill>
          </a:endParaRPr>
        </a:p>
      </dgm:t>
    </dgm:pt>
    <dgm:pt modelId="{66E12251-DEBA-4EF2-8FCD-3E277FDCC8ED}" type="parTrans" cxnId="{F88B8AC6-716C-4446-87C6-CAD258E3E8DF}">
      <dgm:prSet/>
      <dgm:spPr/>
      <dgm:t>
        <a:bodyPr/>
        <a:lstStyle/>
        <a:p>
          <a:endParaRPr lang="en-US"/>
        </a:p>
      </dgm:t>
    </dgm:pt>
    <dgm:pt modelId="{DC54B185-5A64-4F7F-9E86-AA78A24B917E}" type="sibTrans" cxnId="{F88B8AC6-716C-4446-87C6-CAD258E3E8DF}">
      <dgm:prSet/>
      <dgm:spPr/>
      <dgm:t>
        <a:bodyPr/>
        <a:lstStyle/>
        <a:p>
          <a:endParaRPr lang="en-US"/>
        </a:p>
      </dgm:t>
    </dgm:pt>
    <dgm:pt modelId="{2F03B64D-2403-4660-B475-DE1FD44A826F}">
      <dgm:prSet phldrT="[Text]" custT="1"/>
      <dgm:spPr>
        <a:solidFill>
          <a:srgbClr val="00B050"/>
        </a:solidFill>
      </dgm:spPr>
      <dgm:t>
        <a:bodyPr/>
        <a:lstStyle/>
        <a:p>
          <a:r>
            <a:rPr lang="en-US" sz="1400" b="1" dirty="0">
              <a:solidFill>
                <a:schemeClr val="tx1"/>
              </a:solidFill>
            </a:rPr>
            <a:t>PMIS</a:t>
          </a:r>
          <a:endParaRPr lang="en-US" sz="1100" b="1" dirty="0">
            <a:solidFill>
              <a:schemeClr val="tx1"/>
            </a:solidFill>
          </a:endParaRPr>
        </a:p>
      </dgm:t>
    </dgm:pt>
    <dgm:pt modelId="{91A19E33-D3D4-40AF-85EC-E4165A95FF3D}" type="parTrans" cxnId="{5E67C411-A37C-48BD-8DA2-16719D1DF50B}">
      <dgm:prSet/>
      <dgm:spPr/>
      <dgm:t>
        <a:bodyPr/>
        <a:lstStyle/>
        <a:p>
          <a:endParaRPr lang="en-US"/>
        </a:p>
      </dgm:t>
    </dgm:pt>
    <dgm:pt modelId="{E589CC0D-441F-406B-8A22-00B349BF15A4}" type="sibTrans" cxnId="{5E67C411-A37C-48BD-8DA2-16719D1DF50B}">
      <dgm:prSet/>
      <dgm:spPr/>
      <dgm:t>
        <a:bodyPr/>
        <a:lstStyle/>
        <a:p>
          <a:endParaRPr lang="en-US"/>
        </a:p>
      </dgm:t>
    </dgm:pt>
    <dgm:pt modelId="{C03CAFE0-B1FB-49B1-823A-DD8363B57892}">
      <dgm:prSet phldrT="[Text]" custT="1"/>
      <dgm:spPr>
        <a:solidFill>
          <a:srgbClr val="92D050"/>
        </a:solidFill>
      </dgm:spPr>
      <dgm:t>
        <a:bodyPr/>
        <a:lstStyle/>
        <a:p>
          <a:r>
            <a:rPr lang="en-US" sz="1400" b="1" dirty="0">
              <a:solidFill>
                <a:schemeClr val="tx1"/>
              </a:solidFill>
            </a:rPr>
            <a:t>WCS</a:t>
          </a:r>
          <a:endParaRPr lang="en-US" sz="1100" b="1" dirty="0">
            <a:solidFill>
              <a:schemeClr val="tx1"/>
            </a:solidFill>
          </a:endParaRPr>
        </a:p>
      </dgm:t>
    </dgm:pt>
    <dgm:pt modelId="{6F6C9669-33C9-46CC-B626-F3A57B60439F}" type="parTrans" cxnId="{A8183BB4-1B3A-443F-8A02-CD64B2CE8669}">
      <dgm:prSet/>
      <dgm:spPr/>
      <dgm:t>
        <a:bodyPr/>
        <a:lstStyle/>
        <a:p>
          <a:endParaRPr lang="en-US"/>
        </a:p>
      </dgm:t>
    </dgm:pt>
    <dgm:pt modelId="{0CB5EAC1-D171-456C-9804-6DA231E98B8A}" type="sibTrans" cxnId="{A8183BB4-1B3A-443F-8A02-CD64B2CE8669}">
      <dgm:prSet/>
      <dgm:spPr/>
      <dgm:t>
        <a:bodyPr/>
        <a:lstStyle/>
        <a:p>
          <a:endParaRPr lang="en-US"/>
        </a:p>
      </dgm:t>
    </dgm:pt>
    <dgm:pt modelId="{516B9CDB-7733-4217-932B-9B4EDBD1D613}">
      <dgm:prSet phldrT="[Text]" custT="1"/>
      <dgm:spPr>
        <a:solidFill>
          <a:srgbClr val="00B050"/>
        </a:solidFill>
      </dgm:spPr>
      <dgm:t>
        <a:bodyPr/>
        <a:lstStyle/>
        <a:p>
          <a:r>
            <a:rPr lang="en-US" sz="1400" b="1" dirty="0">
              <a:solidFill>
                <a:schemeClr val="tx1"/>
              </a:solidFill>
            </a:rPr>
            <a:t>PMIS</a:t>
          </a:r>
          <a:endParaRPr lang="en-US" sz="1100" b="1" dirty="0">
            <a:solidFill>
              <a:schemeClr val="tx1"/>
            </a:solidFill>
          </a:endParaRPr>
        </a:p>
      </dgm:t>
    </dgm:pt>
    <dgm:pt modelId="{27218679-8C6B-4944-B394-FA99F201D621}" type="parTrans" cxnId="{5601FE4F-2006-4DA7-A3A3-ECF9940DC2C9}">
      <dgm:prSet/>
      <dgm:spPr/>
      <dgm:t>
        <a:bodyPr/>
        <a:lstStyle/>
        <a:p>
          <a:endParaRPr lang="en-US"/>
        </a:p>
      </dgm:t>
    </dgm:pt>
    <dgm:pt modelId="{C4A52F5F-0551-4CF0-9EA4-E733F7286FC0}" type="sibTrans" cxnId="{5601FE4F-2006-4DA7-A3A3-ECF9940DC2C9}">
      <dgm:prSet/>
      <dgm:spPr/>
      <dgm:t>
        <a:bodyPr/>
        <a:lstStyle/>
        <a:p>
          <a:endParaRPr lang="en-US"/>
        </a:p>
      </dgm:t>
    </dgm:pt>
    <dgm:pt modelId="{7AAA0688-F606-4EBD-AD8E-CD2BC7BABA8A}">
      <dgm:prSet phldrT="[Text]" custT="1"/>
      <dgm:spPr>
        <a:solidFill>
          <a:schemeClr val="accent3"/>
        </a:solidFill>
      </dgm:spPr>
      <dgm:t>
        <a:bodyPr/>
        <a:lstStyle/>
        <a:p>
          <a:r>
            <a:rPr lang="en-ZA" sz="1400" b="1" dirty="0">
              <a:solidFill>
                <a:schemeClr val="tx1"/>
              </a:solidFill>
            </a:rPr>
            <a:t>Archibus</a:t>
          </a:r>
          <a:endParaRPr lang="en-US" sz="1900" b="1" dirty="0">
            <a:solidFill>
              <a:schemeClr val="tx1"/>
            </a:solidFill>
          </a:endParaRPr>
        </a:p>
      </dgm:t>
    </dgm:pt>
    <dgm:pt modelId="{50C0390B-EEB3-4395-817D-8C5F3BAE8328}" type="parTrans" cxnId="{AB941037-2A7D-4FC9-8386-3C961ADD160B}">
      <dgm:prSet/>
      <dgm:spPr/>
      <dgm:t>
        <a:bodyPr/>
        <a:lstStyle/>
        <a:p>
          <a:endParaRPr lang="en-US"/>
        </a:p>
      </dgm:t>
    </dgm:pt>
    <dgm:pt modelId="{5E8E175F-E1FF-4B4B-9AFC-855634778F36}" type="sibTrans" cxnId="{AB941037-2A7D-4FC9-8386-3C961ADD160B}">
      <dgm:prSet/>
      <dgm:spPr/>
      <dgm:t>
        <a:bodyPr/>
        <a:lstStyle/>
        <a:p>
          <a:endParaRPr lang="en-US"/>
        </a:p>
      </dgm:t>
    </dgm:pt>
    <dgm:pt modelId="{C09311F5-5B63-4CC9-9AF6-77EEB122B241}">
      <dgm:prSet phldrT="[Text]" custT="1"/>
      <dgm:spPr>
        <a:solidFill>
          <a:schemeClr val="accent3"/>
        </a:solidFill>
      </dgm:spPr>
      <dgm:t>
        <a:bodyPr/>
        <a:lstStyle/>
        <a:p>
          <a:r>
            <a:rPr lang="en-US" sz="1400" b="1" dirty="0">
              <a:solidFill>
                <a:schemeClr val="tx1"/>
              </a:solidFill>
            </a:rPr>
            <a:t>Worx4U</a:t>
          </a:r>
        </a:p>
      </dgm:t>
    </dgm:pt>
    <dgm:pt modelId="{3EE83A32-520D-44FE-9CBC-8678F14BAA52}" type="parTrans" cxnId="{639406EB-2A7C-4DD2-9435-CAA7CE16F187}">
      <dgm:prSet/>
      <dgm:spPr/>
      <dgm:t>
        <a:bodyPr/>
        <a:lstStyle/>
        <a:p>
          <a:endParaRPr lang="en-US"/>
        </a:p>
      </dgm:t>
    </dgm:pt>
    <dgm:pt modelId="{1CFA8E05-7EC9-47A9-A9F4-4F5B720E1696}" type="sibTrans" cxnId="{639406EB-2A7C-4DD2-9435-CAA7CE16F187}">
      <dgm:prSet/>
      <dgm:spPr/>
      <dgm:t>
        <a:bodyPr/>
        <a:lstStyle/>
        <a:p>
          <a:endParaRPr lang="en-US"/>
        </a:p>
      </dgm:t>
    </dgm:pt>
    <dgm:pt modelId="{C6AAA554-A971-4D79-A429-7F6DEF7DCA93}">
      <dgm:prSet phldrT="[Text]" custT="1"/>
      <dgm:spPr>
        <a:solidFill>
          <a:srgbClr val="FF9933"/>
        </a:solidFill>
      </dgm:spPr>
      <dgm:t>
        <a:bodyPr/>
        <a:lstStyle/>
        <a:p>
          <a:r>
            <a:rPr lang="en-US" sz="1400" b="1" dirty="0">
              <a:solidFill>
                <a:schemeClr val="tx1"/>
              </a:solidFill>
            </a:rPr>
            <a:t>SAGE</a:t>
          </a:r>
        </a:p>
      </dgm:t>
    </dgm:pt>
    <dgm:pt modelId="{A7B56847-7108-4071-A2D0-4C04890FE78A}" type="parTrans" cxnId="{38A06BF7-9C6F-4FA2-B814-CB60E66089BA}">
      <dgm:prSet/>
      <dgm:spPr/>
      <dgm:t>
        <a:bodyPr/>
        <a:lstStyle/>
        <a:p>
          <a:endParaRPr lang="en-US"/>
        </a:p>
      </dgm:t>
    </dgm:pt>
    <dgm:pt modelId="{D8D903A3-F1E1-4B20-A62D-6215A8156808}" type="sibTrans" cxnId="{38A06BF7-9C6F-4FA2-B814-CB60E66089BA}">
      <dgm:prSet/>
      <dgm:spPr/>
      <dgm:t>
        <a:bodyPr/>
        <a:lstStyle/>
        <a:p>
          <a:endParaRPr lang="en-US"/>
        </a:p>
      </dgm:t>
    </dgm:pt>
    <dgm:pt modelId="{0F2FAFB1-FCE6-44D6-A2A8-63D57FB565FC}">
      <dgm:prSet phldrT="[Text]" custT="1"/>
      <dgm:spPr>
        <a:solidFill>
          <a:srgbClr val="F046D0"/>
        </a:solidFill>
      </dgm:spPr>
      <dgm:t>
        <a:bodyPr/>
        <a:lstStyle/>
        <a:p>
          <a:r>
            <a:rPr lang="en-ZA" sz="1400" b="1" dirty="0">
              <a:solidFill>
                <a:schemeClr val="tx1"/>
              </a:solidFill>
            </a:rPr>
            <a:t>Reapatala</a:t>
          </a:r>
          <a:endParaRPr lang="en-US" sz="1400" b="1" dirty="0">
            <a:solidFill>
              <a:schemeClr val="tx1"/>
            </a:solidFill>
          </a:endParaRPr>
        </a:p>
      </dgm:t>
    </dgm:pt>
    <dgm:pt modelId="{11C07C15-F5C4-41F2-88FC-D549867F026F}" type="parTrans" cxnId="{1CB7AF21-7262-43BD-844A-5E253F871AA7}">
      <dgm:prSet/>
      <dgm:spPr/>
      <dgm:t>
        <a:bodyPr/>
        <a:lstStyle/>
        <a:p>
          <a:endParaRPr lang="en-US"/>
        </a:p>
      </dgm:t>
    </dgm:pt>
    <dgm:pt modelId="{A2A2293E-2095-41C8-9BAE-175803310F1C}" type="sibTrans" cxnId="{1CB7AF21-7262-43BD-844A-5E253F871AA7}">
      <dgm:prSet/>
      <dgm:spPr/>
      <dgm:t>
        <a:bodyPr/>
        <a:lstStyle/>
        <a:p>
          <a:endParaRPr lang="en-US"/>
        </a:p>
      </dgm:t>
    </dgm:pt>
    <dgm:pt modelId="{EAD08BDA-9DDD-4DDC-9AD1-7CE7D058486D}">
      <dgm:prSet phldrT="[Text]" custT="1"/>
      <dgm:spPr/>
      <dgm:t>
        <a:bodyPr/>
        <a:lstStyle/>
        <a:p>
          <a:r>
            <a:rPr lang="en-US" sz="1400" b="1" dirty="0">
              <a:solidFill>
                <a:schemeClr val="tx1"/>
              </a:solidFill>
            </a:rPr>
            <a:t>PERSAL</a:t>
          </a:r>
        </a:p>
      </dgm:t>
    </dgm:pt>
    <dgm:pt modelId="{D2DCEAAC-455D-462E-89E3-203DEAF791DD}" type="parTrans" cxnId="{82AECCE1-0835-45E6-87D8-BF49B5D23D3C}">
      <dgm:prSet/>
      <dgm:spPr/>
      <dgm:t>
        <a:bodyPr/>
        <a:lstStyle/>
        <a:p>
          <a:endParaRPr lang="en-US"/>
        </a:p>
      </dgm:t>
    </dgm:pt>
    <dgm:pt modelId="{AAFBDE3E-179A-40BF-B6B3-2679F1843BEB}" type="sibTrans" cxnId="{82AECCE1-0835-45E6-87D8-BF49B5D23D3C}">
      <dgm:prSet/>
      <dgm:spPr/>
      <dgm:t>
        <a:bodyPr/>
        <a:lstStyle/>
        <a:p>
          <a:endParaRPr lang="en-US"/>
        </a:p>
      </dgm:t>
    </dgm:pt>
    <dgm:pt modelId="{717F2636-4687-41C4-9FAB-DB1C0780ABD8}">
      <dgm:prSet phldrT="[Text]" custT="1"/>
      <dgm:spPr>
        <a:solidFill>
          <a:srgbClr val="F046D0"/>
        </a:solidFill>
      </dgm:spPr>
      <dgm:t>
        <a:bodyPr/>
        <a:lstStyle/>
        <a:p>
          <a:r>
            <a:rPr lang="en-US" sz="1400" b="1" dirty="0">
              <a:solidFill>
                <a:schemeClr val="tx1"/>
              </a:solidFill>
            </a:rPr>
            <a:t>Reapatala</a:t>
          </a:r>
          <a:endParaRPr lang="en-US" sz="1100" b="1" dirty="0">
            <a:solidFill>
              <a:schemeClr val="tx1"/>
            </a:solidFill>
          </a:endParaRPr>
        </a:p>
      </dgm:t>
    </dgm:pt>
    <dgm:pt modelId="{4E45B15B-DCB5-40F3-AAD0-A5AC1AB01C2E}" type="parTrans" cxnId="{4311FE13-0739-454B-902E-55C3A869E2D7}">
      <dgm:prSet/>
      <dgm:spPr/>
      <dgm:t>
        <a:bodyPr/>
        <a:lstStyle/>
        <a:p>
          <a:endParaRPr lang="en-US"/>
        </a:p>
      </dgm:t>
    </dgm:pt>
    <dgm:pt modelId="{C37D9F71-5F2B-42FA-A449-3CFDD3F8B7F7}" type="sibTrans" cxnId="{4311FE13-0739-454B-902E-55C3A869E2D7}">
      <dgm:prSet/>
      <dgm:spPr/>
      <dgm:t>
        <a:bodyPr/>
        <a:lstStyle/>
        <a:p>
          <a:endParaRPr lang="en-US"/>
        </a:p>
      </dgm:t>
    </dgm:pt>
    <dgm:pt modelId="{CEDD47CE-5127-452F-81DE-38E8B4571C7A}">
      <dgm:prSet phldrT="[Text]" custT="1"/>
      <dgm:spPr>
        <a:solidFill>
          <a:srgbClr val="00B050"/>
        </a:solidFill>
      </dgm:spPr>
      <dgm:t>
        <a:bodyPr/>
        <a:lstStyle/>
        <a:p>
          <a:r>
            <a:rPr lang="en-US" sz="1400" b="1" dirty="0">
              <a:solidFill>
                <a:schemeClr val="tx1"/>
              </a:solidFill>
            </a:rPr>
            <a:t>PMIS</a:t>
          </a:r>
        </a:p>
      </dgm:t>
    </dgm:pt>
    <dgm:pt modelId="{840B66B6-2719-432B-B85C-B5A66AF2EC14}" type="parTrans" cxnId="{F202F5ED-81A3-4EAB-9725-CEE1822314BD}">
      <dgm:prSet/>
      <dgm:spPr/>
      <dgm:t>
        <a:bodyPr/>
        <a:lstStyle/>
        <a:p>
          <a:endParaRPr lang="en-US"/>
        </a:p>
      </dgm:t>
    </dgm:pt>
    <dgm:pt modelId="{EFD89FF3-0E38-44C7-AF97-6D3FFEDD6142}" type="sibTrans" cxnId="{F202F5ED-81A3-4EAB-9725-CEE1822314BD}">
      <dgm:prSet/>
      <dgm:spPr/>
      <dgm:t>
        <a:bodyPr/>
        <a:lstStyle/>
        <a:p>
          <a:endParaRPr lang="en-US"/>
        </a:p>
      </dgm:t>
    </dgm:pt>
    <dgm:pt modelId="{66DC9E44-A655-4829-967A-9F671E8E4AE8}">
      <dgm:prSet phldrT="[Text]" custT="1"/>
      <dgm:spPr>
        <a:solidFill>
          <a:srgbClr val="FF9933"/>
        </a:solidFill>
      </dgm:spPr>
      <dgm:t>
        <a:bodyPr/>
        <a:lstStyle/>
        <a:p>
          <a:r>
            <a:rPr lang="en-US" sz="1400" b="1" dirty="0">
              <a:solidFill>
                <a:schemeClr val="tx1"/>
              </a:solidFill>
            </a:rPr>
            <a:t>SAGE</a:t>
          </a:r>
        </a:p>
      </dgm:t>
    </dgm:pt>
    <dgm:pt modelId="{73F816A5-7184-4C0A-AD87-BC79EC3FE4B0}" type="parTrans" cxnId="{97E9696A-6CC7-4226-8FAC-EDEF1A0CE586}">
      <dgm:prSet/>
      <dgm:spPr/>
      <dgm:t>
        <a:bodyPr/>
        <a:lstStyle/>
        <a:p>
          <a:endParaRPr lang="en-US"/>
        </a:p>
      </dgm:t>
    </dgm:pt>
    <dgm:pt modelId="{8D035B5A-7911-4306-B969-05DCAC97429B}" type="sibTrans" cxnId="{97E9696A-6CC7-4226-8FAC-EDEF1A0CE586}">
      <dgm:prSet/>
      <dgm:spPr/>
      <dgm:t>
        <a:bodyPr/>
        <a:lstStyle/>
        <a:p>
          <a:endParaRPr lang="en-US"/>
        </a:p>
      </dgm:t>
    </dgm:pt>
    <dgm:pt modelId="{BBDB9D99-62CD-4B54-A579-25F8F03124CD}">
      <dgm:prSet phldrT="[Text]" custT="1"/>
      <dgm:spPr>
        <a:solidFill>
          <a:schemeClr val="accent3"/>
        </a:solidFill>
      </dgm:spPr>
      <dgm:t>
        <a:bodyPr/>
        <a:lstStyle/>
        <a:p>
          <a:r>
            <a:rPr lang="en-ZA" sz="1400" b="1" dirty="0">
              <a:solidFill>
                <a:schemeClr val="tx1"/>
              </a:solidFill>
            </a:rPr>
            <a:t>Archibus</a:t>
          </a:r>
          <a:endParaRPr lang="en-US" sz="1400" b="1" dirty="0">
            <a:solidFill>
              <a:schemeClr val="tx1"/>
            </a:solidFill>
          </a:endParaRPr>
        </a:p>
      </dgm:t>
    </dgm:pt>
    <dgm:pt modelId="{51512EFC-B2FF-4D82-8558-4D2C19251BB9}" type="parTrans" cxnId="{4E7CA49C-281A-4BDA-B381-3AF10227CC1C}">
      <dgm:prSet/>
      <dgm:spPr/>
      <dgm:t>
        <a:bodyPr/>
        <a:lstStyle/>
        <a:p>
          <a:endParaRPr lang="en-US"/>
        </a:p>
      </dgm:t>
    </dgm:pt>
    <dgm:pt modelId="{7A9AE2C6-7BB7-4D29-80DD-BDA9A1AF9356}" type="sibTrans" cxnId="{4E7CA49C-281A-4BDA-B381-3AF10227CC1C}">
      <dgm:prSet/>
      <dgm:spPr/>
      <dgm:t>
        <a:bodyPr/>
        <a:lstStyle/>
        <a:p>
          <a:endParaRPr lang="en-US"/>
        </a:p>
      </dgm:t>
    </dgm:pt>
    <dgm:pt modelId="{F1C8EDDA-51CE-42BE-B784-1156EAD86900}">
      <dgm:prSet phldrT="[Text]" custT="1"/>
      <dgm:spPr>
        <a:solidFill>
          <a:schemeClr val="accent3"/>
        </a:solidFill>
      </dgm:spPr>
      <dgm:t>
        <a:bodyPr/>
        <a:lstStyle/>
        <a:p>
          <a:r>
            <a:rPr lang="en-US" sz="1400" b="1" dirty="0">
              <a:solidFill>
                <a:schemeClr val="tx1"/>
              </a:solidFill>
            </a:rPr>
            <a:t>Worx4U</a:t>
          </a:r>
        </a:p>
      </dgm:t>
    </dgm:pt>
    <dgm:pt modelId="{85328DE5-5516-49FD-A2B6-1B2269C4B030}" type="parTrans" cxnId="{FE80AD2E-C20C-4D48-92BC-4427B796621D}">
      <dgm:prSet/>
      <dgm:spPr/>
      <dgm:t>
        <a:bodyPr/>
        <a:lstStyle/>
        <a:p>
          <a:endParaRPr lang="en-US"/>
        </a:p>
      </dgm:t>
    </dgm:pt>
    <dgm:pt modelId="{555E12D4-1C7A-4F04-8D9E-56554E6C20C1}" type="sibTrans" cxnId="{FE80AD2E-C20C-4D48-92BC-4427B796621D}">
      <dgm:prSet/>
      <dgm:spPr/>
      <dgm:t>
        <a:bodyPr/>
        <a:lstStyle/>
        <a:p>
          <a:endParaRPr lang="en-US"/>
        </a:p>
      </dgm:t>
    </dgm:pt>
    <dgm:pt modelId="{58D1EFB0-837F-4369-99AD-F45B2BB3EFED}">
      <dgm:prSet phldrT="[Text]" custT="1"/>
      <dgm:spPr>
        <a:solidFill>
          <a:srgbClr val="00B050"/>
        </a:solidFill>
      </dgm:spPr>
      <dgm:t>
        <a:bodyPr/>
        <a:lstStyle/>
        <a:p>
          <a:r>
            <a:rPr lang="en-US" sz="1400" b="1" dirty="0">
              <a:solidFill>
                <a:schemeClr val="tx1"/>
              </a:solidFill>
            </a:rPr>
            <a:t>PMIS</a:t>
          </a:r>
          <a:endParaRPr lang="en-US" sz="1100" b="1" dirty="0">
            <a:solidFill>
              <a:schemeClr val="tx1"/>
            </a:solidFill>
          </a:endParaRPr>
        </a:p>
      </dgm:t>
    </dgm:pt>
    <dgm:pt modelId="{4A78BA9C-70EF-48BD-9E1D-3299BA9A9A5E}" type="parTrans" cxnId="{49F7D6C8-C3D1-4DD5-B2D1-17E9BC1040EB}">
      <dgm:prSet/>
      <dgm:spPr/>
      <dgm:t>
        <a:bodyPr/>
        <a:lstStyle/>
        <a:p>
          <a:endParaRPr lang="en-US"/>
        </a:p>
      </dgm:t>
    </dgm:pt>
    <dgm:pt modelId="{48FAA41A-EAEF-47D4-9F6A-C75E2098A121}" type="sibTrans" cxnId="{49F7D6C8-C3D1-4DD5-B2D1-17E9BC1040EB}">
      <dgm:prSet/>
      <dgm:spPr/>
      <dgm:t>
        <a:bodyPr/>
        <a:lstStyle/>
        <a:p>
          <a:endParaRPr lang="en-US"/>
        </a:p>
      </dgm:t>
    </dgm:pt>
    <dgm:pt modelId="{30587467-378A-401C-AE88-0776549BFF50}">
      <dgm:prSet phldrT="[Text]" custT="1"/>
      <dgm:spPr/>
      <dgm:t>
        <a:bodyPr/>
        <a:lstStyle/>
        <a:p>
          <a:r>
            <a:rPr lang="en-US" sz="1400" b="1" dirty="0">
              <a:solidFill>
                <a:schemeClr val="tx1"/>
              </a:solidFill>
            </a:rPr>
            <a:t>Supplier Verification System - CSD</a:t>
          </a:r>
        </a:p>
      </dgm:t>
    </dgm:pt>
    <dgm:pt modelId="{F878D827-2C2D-4365-961E-5A5A7980E941}" type="parTrans" cxnId="{6F34F6A8-AF78-4ACF-B09E-BAD127D34D56}">
      <dgm:prSet/>
      <dgm:spPr/>
      <dgm:t>
        <a:bodyPr/>
        <a:lstStyle/>
        <a:p>
          <a:endParaRPr lang="en-US"/>
        </a:p>
      </dgm:t>
    </dgm:pt>
    <dgm:pt modelId="{D34B73CE-4797-4A2C-AB74-ECB256869AC8}" type="sibTrans" cxnId="{6F34F6A8-AF78-4ACF-B09E-BAD127D34D56}">
      <dgm:prSet/>
      <dgm:spPr/>
      <dgm:t>
        <a:bodyPr/>
        <a:lstStyle/>
        <a:p>
          <a:endParaRPr lang="en-US"/>
        </a:p>
      </dgm:t>
    </dgm:pt>
    <dgm:pt modelId="{18B831EE-3452-4E1F-9273-BEE78DF420F4}">
      <dgm:prSet phldrT="[Text]" custT="1"/>
      <dgm:spPr>
        <a:solidFill>
          <a:schemeClr val="accent2">
            <a:lumMod val="60000"/>
            <a:lumOff val="40000"/>
          </a:schemeClr>
        </a:solidFill>
      </dgm:spPr>
      <dgm:t>
        <a:bodyPr/>
        <a:lstStyle/>
        <a:p>
          <a:r>
            <a:rPr lang="en-US" sz="1400" b="1" dirty="0">
              <a:solidFill>
                <a:schemeClr val="tx1"/>
              </a:solidFill>
            </a:rPr>
            <a:t>Safety Net</a:t>
          </a:r>
        </a:p>
      </dgm:t>
    </dgm:pt>
    <dgm:pt modelId="{5291CDA2-1317-4065-A555-DFDD8E8860F4}" type="parTrans" cxnId="{C9710589-9E30-4A15-A9B8-3C1FE79D07ED}">
      <dgm:prSet/>
      <dgm:spPr/>
      <dgm:t>
        <a:bodyPr/>
        <a:lstStyle/>
        <a:p>
          <a:endParaRPr lang="en-US"/>
        </a:p>
      </dgm:t>
    </dgm:pt>
    <dgm:pt modelId="{600F4DDC-C544-4C9C-9AB6-89E29AF17FED}" type="sibTrans" cxnId="{C9710589-9E30-4A15-A9B8-3C1FE79D07ED}">
      <dgm:prSet/>
      <dgm:spPr/>
      <dgm:t>
        <a:bodyPr/>
        <a:lstStyle/>
        <a:p>
          <a:endParaRPr lang="en-US"/>
        </a:p>
      </dgm:t>
    </dgm:pt>
    <dgm:pt modelId="{A6B5768B-E2DD-4197-9698-9A4204CC8892}">
      <dgm:prSet phldrT="[Text]" custT="1"/>
      <dgm:spPr>
        <a:solidFill>
          <a:srgbClr val="92D050"/>
        </a:solidFill>
      </dgm:spPr>
      <dgm:t>
        <a:bodyPr/>
        <a:lstStyle/>
        <a:p>
          <a:r>
            <a:rPr lang="en-US" sz="1400" b="1" dirty="0">
              <a:solidFill>
                <a:schemeClr val="tx1"/>
              </a:solidFill>
              <a:latin typeface="+mn-lt"/>
            </a:rPr>
            <a:t>WCS</a:t>
          </a:r>
        </a:p>
      </dgm:t>
    </dgm:pt>
    <dgm:pt modelId="{9DB37557-D171-443A-8E29-7BE0B085D57A}" type="parTrans" cxnId="{2A93B65D-3CAC-418D-8959-A9521781C1CF}">
      <dgm:prSet/>
      <dgm:spPr/>
      <dgm:t>
        <a:bodyPr/>
        <a:lstStyle/>
        <a:p>
          <a:endParaRPr lang="en-ZA"/>
        </a:p>
      </dgm:t>
    </dgm:pt>
    <dgm:pt modelId="{0CDD5BA3-5B75-42BB-8806-3E8EAD4C0341}" type="sibTrans" cxnId="{2A93B65D-3CAC-418D-8959-A9521781C1CF}">
      <dgm:prSet/>
      <dgm:spPr/>
      <dgm:t>
        <a:bodyPr/>
        <a:lstStyle/>
        <a:p>
          <a:endParaRPr lang="en-ZA"/>
        </a:p>
      </dgm:t>
    </dgm:pt>
    <dgm:pt modelId="{25C34C51-DD44-4CF7-9093-8E431A21B64C}" type="pres">
      <dgm:prSet presAssocID="{7CE73B2F-FAFD-4EEE-A9FF-F6D4F373E706}" presName="theList" presStyleCnt="0">
        <dgm:presLayoutVars>
          <dgm:dir/>
          <dgm:animLvl val="lvl"/>
          <dgm:resizeHandles val="exact"/>
        </dgm:presLayoutVars>
      </dgm:prSet>
      <dgm:spPr/>
      <dgm:t>
        <a:bodyPr/>
        <a:lstStyle/>
        <a:p>
          <a:endParaRPr lang="en-ZA"/>
        </a:p>
      </dgm:t>
    </dgm:pt>
    <dgm:pt modelId="{41E61EFC-DE92-4069-9BB0-5750A196C60C}" type="pres">
      <dgm:prSet presAssocID="{113DA095-5452-435F-AA7B-FAC458BB8D4C}" presName="compNode" presStyleCnt="0"/>
      <dgm:spPr/>
    </dgm:pt>
    <dgm:pt modelId="{75F72EC7-A214-4FC2-8112-2BFCCF8B6826}" type="pres">
      <dgm:prSet presAssocID="{113DA095-5452-435F-AA7B-FAC458BB8D4C}" presName="aNode" presStyleLbl="bgShp" presStyleIdx="0" presStyleCnt="6" custLinFactNeighborX="3796"/>
      <dgm:spPr/>
      <dgm:t>
        <a:bodyPr/>
        <a:lstStyle/>
        <a:p>
          <a:endParaRPr lang="en-ZA"/>
        </a:p>
      </dgm:t>
    </dgm:pt>
    <dgm:pt modelId="{9BC95D67-8633-425D-A6CB-B1E2A40B6885}" type="pres">
      <dgm:prSet presAssocID="{113DA095-5452-435F-AA7B-FAC458BB8D4C}" presName="textNode" presStyleLbl="bgShp" presStyleIdx="0" presStyleCnt="6"/>
      <dgm:spPr/>
      <dgm:t>
        <a:bodyPr/>
        <a:lstStyle/>
        <a:p>
          <a:endParaRPr lang="en-ZA"/>
        </a:p>
      </dgm:t>
    </dgm:pt>
    <dgm:pt modelId="{6FF7FCAE-AA24-4A9C-A3D4-8D8C8C5B5519}" type="pres">
      <dgm:prSet presAssocID="{113DA095-5452-435F-AA7B-FAC458BB8D4C}" presName="compChildNode" presStyleCnt="0"/>
      <dgm:spPr/>
    </dgm:pt>
    <dgm:pt modelId="{914B2803-74F9-4516-8EB9-0ED031387988}" type="pres">
      <dgm:prSet presAssocID="{113DA095-5452-435F-AA7B-FAC458BB8D4C}" presName="theInnerList" presStyleCnt="0"/>
      <dgm:spPr/>
    </dgm:pt>
    <dgm:pt modelId="{3B34FDFE-936D-483A-A038-77B8C191A391}" type="pres">
      <dgm:prSet presAssocID="{1734ACA3-103F-4DB8-B73C-4461B2906292}" presName="childNode" presStyleLbl="node1" presStyleIdx="0" presStyleCnt="24" custLinFactNeighborX="4892" custLinFactNeighborY="-7981">
        <dgm:presLayoutVars>
          <dgm:bulletEnabled val="1"/>
        </dgm:presLayoutVars>
      </dgm:prSet>
      <dgm:spPr/>
      <dgm:t>
        <a:bodyPr/>
        <a:lstStyle/>
        <a:p>
          <a:endParaRPr lang="en-ZA"/>
        </a:p>
      </dgm:t>
    </dgm:pt>
    <dgm:pt modelId="{6A05FFFE-189A-4AF4-AC15-5CE0B1831ED1}" type="pres">
      <dgm:prSet presAssocID="{1734ACA3-103F-4DB8-B73C-4461B2906292}" presName="aSpace2" presStyleCnt="0"/>
      <dgm:spPr/>
    </dgm:pt>
    <dgm:pt modelId="{C9F65BC7-6A19-4FB2-82BF-A2B05529F82E}" type="pres">
      <dgm:prSet presAssocID="{01823027-A3B9-491C-8EFA-AC62089F45B5}" presName="childNode" presStyleLbl="node1" presStyleIdx="1" presStyleCnt="24" custLinFactNeighborX="2890" custLinFactNeighborY="6025">
        <dgm:presLayoutVars>
          <dgm:bulletEnabled val="1"/>
        </dgm:presLayoutVars>
      </dgm:prSet>
      <dgm:spPr/>
      <dgm:t>
        <a:bodyPr/>
        <a:lstStyle/>
        <a:p>
          <a:endParaRPr lang="en-ZA"/>
        </a:p>
      </dgm:t>
    </dgm:pt>
    <dgm:pt modelId="{2AAF9880-DEC7-42F6-A055-88307C3FB33D}" type="pres">
      <dgm:prSet presAssocID="{113DA095-5452-435F-AA7B-FAC458BB8D4C}" presName="aSpace" presStyleCnt="0"/>
      <dgm:spPr/>
    </dgm:pt>
    <dgm:pt modelId="{FBA55374-AA05-4E23-A02F-7ED88A254A1A}" type="pres">
      <dgm:prSet presAssocID="{0DE8DE8A-0884-4410-AFA9-9664481B5571}" presName="compNode" presStyleCnt="0"/>
      <dgm:spPr/>
    </dgm:pt>
    <dgm:pt modelId="{B423EEEF-7E0C-4065-8F0A-7BE9E962D0A4}" type="pres">
      <dgm:prSet presAssocID="{0DE8DE8A-0884-4410-AFA9-9664481B5571}" presName="aNode" presStyleLbl="bgShp" presStyleIdx="1" presStyleCnt="6"/>
      <dgm:spPr/>
      <dgm:t>
        <a:bodyPr/>
        <a:lstStyle/>
        <a:p>
          <a:endParaRPr lang="en-ZA"/>
        </a:p>
      </dgm:t>
    </dgm:pt>
    <dgm:pt modelId="{BD9F3F95-002F-44A9-A237-DD1201CCC13B}" type="pres">
      <dgm:prSet presAssocID="{0DE8DE8A-0884-4410-AFA9-9664481B5571}" presName="textNode" presStyleLbl="bgShp" presStyleIdx="1" presStyleCnt="6"/>
      <dgm:spPr/>
      <dgm:t>
        <a:bodyPr/>
        <a:lstStyle/>
        <a:p>
          <a:endParaRPr lang="en-ZA"/>
        </a:p>
      </dgm:t>
    </dgm:pt>
    <dgm:pt modelId="{334FD5FC-2142-4BFF-ABD7-BA0CD193C5EE}" type="pres">
      <dgm:prSet presAssocID="{0DE8DE8A-0884-4410-AFA9-9664481B5571}" presName="compChildNode" presStyleCnt="0"/>
      <dgm:spPr/>
    </dgm:pt>
    <dgm:pt modelId="{EF646CFA-9D0D-4B8A-900A-296C93D09BBE}" type="pres">
      <dgm:prSet presAssocID="{0DE8DE8A-0884-4410-AFA9-9664481B5571}" presName="theInnerList" presStyleCnt="0"/>
      <dgm:spPr/>
    </dgm:pt>
    <dgm:pt modelId="{995D5F5A-FFEE-4498-818A-B62E041DFD04}" type="pres">
      <dgm:prSet presAssocID="{07A320B2-817A-4A40-8A35-3FB929D5E65E}" presName="childNode" presStyleLbl="node1" presStyleIdx="2" presStyleCnt="24" custLinFactNeighborY="11035">
        <dgm:presLayoutVars>
          <dgm:bulletEnabled val="1"/>
        </dgm:presLayoutVars>
      </dgm:prSet>
      <dgm:spPr/>
      <dgm:t>
        <a:bodyPr/>
        <a:lstStyle/>
        <a:p>
          <a:endParaRPr lang="en-ZA"/>
        </a:p>
      </dgm:t>
    </dgm:pt>
    <dgm:pt modelId="{64C1376D-5A71-4022-8B1F-52A3F1FFF04C}" type="pres">
      <dgm:prSet presAssocID="{07A320B2-817A-4A40-8A35-3FB929D5E65E}" presName="aSpace2" presStyleCnt="0"/>
      <dgm:spPr/>
    </dgm:pt>
    <dgm:pt modelId="{BFC457F6-FF95-4004-B141-14E05FBDD470}" type="pres">
      <dgm:prSet presAssocID="{9A684ABE-2C68-4DC0-9010-F47817BB1CE6}" presName="childNode" presStyleLbl="node1" presStyleIdx="3" presStyleCnt="24" custLinFactNeighborY="11035">
        <dgm:presLayoutVars>
          <dgm:bulletEnabled val="1"/>
        </dgm:presLayoutVars>
      </dgm:prSet>
      <dgm:spPr/>
      <dgm:t>
        <a:bodyPr/>
        <a:lstStyle/>
        <a:p>
          <a:endParaRPr lang="en-ZA"/>
        </a:p>
      </dgm:t>
    </dgm:pt>
    <dgm:pt modelId="{895A554F-D419-4137-A503-2F412B4ECD07}" type="pres">
      <dgm:prSet presAssocID="{9A684ABE-2C68-4DC0-9010-F47817BB1CE6}" presName="aSpace2" presStyleCnt="0"/>
      <dgm:spPr/>
    </dgm:pt>
    <dgm:pt modelId="{7FBABDE0-A8F4-443F-A518-1C4B4E1141D3}" type="pres">
      <dgm:prSet presAssocID="{2F03B64D-2403-4660-B475-DE1FD44A826F}" presName="childNode" presStyleLbl="node1" presStyleIdx="4" presStyleCnt="24">
        <dgm:presLayoutVars>
          <dgm:bulletEnabled val="1"/>
        </dgm:presLayoutVars>
      </dgm:prSet>
      <dgm:spPr/>
      <dgm:t>
        <a:bodyPr/>
        <a:lstStyle/>
        <a:p>
          <a:endParaRPr lang="en-ZA"/>
        </a:p>
      </dgm:t>
    </dgm:pt>
    <dgm:pt modelId="{6B76AAF2-7C30-4515-AD6C-610CCF06B8CA}" type="pres">
      <dgm:prSet presAssocID="{2F03B64D-2403-4660-B475-DE1FD44A826F}" presName="aSpace2" presStyleCnt="0"/>
      <dgm:spPr/>
    </dgm:pt>
    <dgm:pt modelId="{CB60BE14-296E-4077-ADF6-AE6AB117158D}" type="pres">
      <dgm:prSet presAssocID="{C03CAFE0-B1FB-49B1-823A-DD8363B57892}" presName="childNode" presStyleLbl="node1" presStyleIdx="5" presStyleCnt="24">
        <dgm:presLayoutVars>
          <dgm:bulletEnabled val="1"/>
        </dgm:presLayoutVars>
      </dgm:prSet>
      <dgm:spPr/>
      <dgm:t>
        <a:bodyPr/>
        <a:lstStyle/>
        <a:p>
          <a:endParaRPr lang="en-ZA"/>
        </a:p>
      </dgm:t>
    </dgm:pt>
    <dgm:pt modelId="{435ED84E-9F11-469F-AFFD-7AEF74B954E2}" type="pres">
      <dgm:prSet presAssocID="{0DE8DE8A-0884-4410-AFA9-9664481B5571}" presName="aSpace" presStyleCnt="0"/>
      <dgm:spPr/>
    </dgm:pt>
    <dgm:pt modelId="{BF461080-0B43-456B-BB35-CD839CBB07C7}" type="pres">
      <dgm:prSet presAssocID="{D30C9C82-5F73-4D59-B9B3-E229F741FA6F}" presName="compNode" presStyleCnt="0"/>
      <dgm:spPr/>
    </dgm:pt>
    <dgm:pt modelId="{5B50CB7B-9099-49D3-ABC7-125DCA43CCD9}" type="pres">
      <dgm:prSet presAssocID="{D30C9C82-5F73-4D59-B9B3-E229F741FA6F}" presName="aNode" presStyleLbl="bgShp" presStyleIdx="2" presStyleCnt="6"/>
      <dgm:spPr/>
      <dgm:t>
        <a:bodyPr/>
        <a:lstStyle/>
        <a:p>
          <a:endParaRPr lang="en-ZA"/>
        </a:p>
      </dgm:t>
    </dgm:pt>
    <dgm:pt modelId="{F458E3B3-8840-443F-A49D-0A54B25C98B1}" type="pres">
      <dgm:prSet presAssocID="{D30C9C82-5F73-4D59-B9B3-E229F741FA6F}" presName="textNode" presStyleLbl="bgShp" presStyleIdx="2" presStyleCnt="6"/>
      <dgm:spPr/>
      <dgm:t>
        <a:bodyPr/>
        <a:lstStyle/>
        <a:p>
          <a:endParaRPr lang="en-ZA"/>
        </a:p>
      </dgm:t>
    </dgm:pt>
    <dgm:pt modelId="{72E0329F-54E8-4B50-B239-4C9E64591AD9}" type="pres">
      <dgm:prSet presAssocID="{D30C9C82-5F73-4D59-B9B3-E229F741FA6F}" presName="compChildNode" presStyleCnt="0"/>
      <dgm:spPr/>
    </dgm:pt>
    <dgm:pt modelId="{47CA0823-EB26-4EDA-8963-0AF2F4876C61}" type="pres">
      <dgm:prSet presAssocID="{D30C9C82-5F73-4D59-B9B3-E229F741FA6F}" presName="theInnerList" presStyleCnt="0"/>
      <dgm:spPr/>
    </dgm:pt>
    <dgm:pt modelId="{249765C8-CC0F-4DDC-B32D-FF11D3CE524B}" type="pres">
      <dgm:prSet presAssocID="{F0CA0E10-7139-48FD-8EB1-D4F68DC4AA7F}" presName="childNode" presStyleLbl="node1" presStyleIdx="6" presStyleCnt="24">
        <dgm:presLayoutVars>
          <dgm:bulletEnabled val="1"/>
        </dgm:presLayoutVars>
      </dgm:prSet>
      <dgm:spPr/>
      <dgm:t>
        <a:bodyPr/>
        <a:lstStyle/>
        <a:p>
          <a:endParaRPr lang="en-ZA"/>
        </a:p>
      </dgm:t>
    </dgm:pt>
    <dgm:pt modelId="{ADEAAC8A-38FB-4D08-B43A-4B739207DFA6}" type="pres">
      <dgm:prSet presAssocID="{F0CA0E10-7139-48FD-8EB1-D4F68DC4AA7F}" presName="aSpace2" presStyleCnt="0"/>
      <dgm:spPr/>
    </dgm:pt>
    <dgm:pt modelId="{F160AE3C-F036-402B-8D8F-2D8AB14DD91F}" type="pres">
      <dgm:prSet presAssocID="{516B9CDB-7733-4217-932B-9B4EDBD1D613}" presName="childNode" presStyleLbl="node1" presStyleIdx="7" presStyleCnt="24">
        <dgm:presLayoutVars>
          <dgm:bulletEnabled val="1"/>
        </dgm:presLayoutVars>
      </dgm:prSet>
      <dgm:spPr/>
      <dgm:t>
        <a:bodyPr/>
        <a:lstStyle/>
        <a:p>
          <a:endParaRPr lang="en-ZA"/>
        </a:p>
      </dgm:t>
    </dgm:pt>
    <dgm:pt modelId="{6C1FD860-CAA3-4433-A58E-04549FD74802}" type="pres">
      <dgm:prSet presAssocID="{516B9CDB-7733-4217-932B-9B4EDBD1D613}" presName="aSpace2" presStyleCnt="0"/>
      <dgm:spPr/>
    </dgm:pt>
    <dgm:pt modelId="{FAE56CCC-BDFB-4648-9D9F-FFB8983222B2}" type="pres">
      <dgm:prSet presAssocID="{717F2636-4687-41C4-9FAB-DB1C0780ABD8}" presName="childNode" presStyleLbl="node1" presStyleIdx="8" presStyleCnt="24">
        <dgm:presLayoutVars>
          <dgm:bulletEnabled val="1"/>
        </dgm:presLayoutVars>
      </dgm:prSet>
      <dgm:spPr/>
      <dgm:t>
        <a:bodyPr/>
        <a:lstStyle/>
        <a:p>
          <a:endParaRPr lang="en-ZA"/>
        </a:p>
      </dgm:t>
    </dgm:pt>
    <dgm:pt modelId="{14EA66DA-9563-471A-A3A3-6A2D8C3F1628}" type="pres">
      <dgm:prSet presAssocID="{D30C9C82-5F73-4D59-B9B3-E229F741FA6F}" presName="aSpace" presStyleCnt="0"/>
      <dgm:spPr/>
    </dgm:pt>
    <dgm:pt modelId="{B2301018-2F06-4F06-9E00-4EEF07BF2985}" type="pres">
      <dgm:prSet presAssocID="{FBCEEB1D-63C6-4FAA-BAC3-833F14A4CCDC}" presName="compNode" presStyleCnt="0"/>
      <dgm:spPr/>
    </dgm:pt>
    <dgm:pt modelId="{DA9E3B09-B218-424D-9A9E-6C0B281596BB}" type="pres">
      <dgm:prSet presAssocID="{FBCEEB1D-63C6-4FAA-BAC3-833F14A4CCDC}" presName="aNode" presStyleLbl="bgShp" presStyleIdx="3" presStyleCnt="6"/>
      <dgm:spPr/>
      <dgm:t>
        <a:bodyPr/>
        <a:lstStyle/>
        <a:p>
          <a:endParaRPr lang="en-ZA"/>
        </a:p>
      </dgm:t>
    </dgm:pt>
    <dgm:pt modelId="{68FFAE6F-B486-4243-A4E4-D6B83F3889E1}" type="pres">
      <dgm:prSet presAssocID="{FBCEEB1D-63C6-4FAA-BAC3-833F14A4CCDC}" presName="textNode" presStyleLbl="bgShp" presStyleIdx="3" presStyleCnt="6"/>
      <dgm:spPr/>
      <dgm:t>
        <a:bodyPr/>
        <a:lstStyle/>
        <a:p>
          <a:endParaRPr lang="en-ZA"/>
        </a:p>
      </dgm:t>
    </dgm:pt>
    <dgm:pt modelId="{2EC5A395-4991-4ECC-8BB6-B01E2DA81DD9}" type="pres">
      <dgm:prSet presAssocID="{FBCEEB1D-63C6-4FAA-BAC3-833F14A4CCDC}" presName="compChildNode" presStyleCnt="0"/>
      <dgm:spPr/>
    </dgm:pt>
    <dgm:pt modelId="{58BE74C3-ED77-45FE-8DB2-9CF623DCDF23}" type="pres">
      <dgm:prSet presAssocID="{FBCEEB1D-63C6-4FAA-BAC3-833F14A4CCDC}" presName="theInnerList" presStyleCnt="0"/>
      <dgm:spPr/>
    </dgm:pt>
    <dgm:pt modelId="{C9EBDD62-4263-4E86-8EC6-823521B7196B}" type="pres">
      <dgm:prSet presAssocID="{58D1EFB0-837F-4369-99AD-F45B2BB3EFED}" presName="childNode" presStyleLbl="node1" presStyleIdx="9" presStyleCnt="24" custLinFactNeighborX="26" custLinFactNeighborY="31988">
        <dgm:presLayoutVars>
          <dgm:bulletEnabled val="1"/>
        </dgm:presLayoutVars>
      </dgm:prSet>
      <dgm:spPr/>
      <dgm:t>
        <a:bodyPr/>
        <a:lstStyle/>
        <a:p>
          <a:endParaRPr lang="en-ZA"/>
        </a:p>
      </dgm:t>
    </dgm:pt>
    <dgm:pt modelId="{7782AE4F-50FE-4304-9C04-C0C704D94709}" type="pres">
      <dgm:prSet presAssocID="{58D1EFB0-837F-4369-99AD-F45B2BB3EFED}" presName="aSpace2" presStyleCnt="0"/>
      <dgm:spPr/>
    </dgm:pt>
    <dgm:pt modelId="{C7E9CB72-BB50-4175-B9DF-EA831C3D0264}" type="pres">
      <dgm:prSet presAssocID="{A6B5768B-E2DD-4197-9698-9A4204CC8892}" presName="childNode" presStyleLbl="node1" presStyleIdx="10" presStyleCnt="24">
        <dgm:presLayoutVars>
          <dgm:bulletEnabled val="1"/>
        </dgm:presLayoutVars>
      </dgm:prSet>
      <dgm:spPr/>
      <dgm:t>
        <a:bodyPr/>
        <a:lstStyle/>
        <a:p>
          <a:endParaRPr lang="en-ZA"/>
        </a:p>
      </dgm:t>
    </dgm:pt>
    <dgm:pt modelId="{86738F22-C71A-4409-8A36-BEBBDB631985}" type="pres">
      <dgm:prSet presAssocID="{A6B5768B-E2DD-4197-9698-9A4204CC8892}" presName="aSpace2" presStyleCnt="0"/>
      <dgm:spPr/>
    </dgm:pt>
    <dgm:pt modelId="{0891D493-71E1-4FEE-8709-DEB031B5BDD3}" type="pres">
      <dgm:prSet presAssocID="{30587467-378A-401C-AE88-0776549BFF50}" presName="childNode" presStyleLbl="node1" presStyleIdx="11" presStyleCnt="24" custScaleY="174769" custLinFactNeighborX="26" custLinFactNeighborY="31988">
        <dgm:presLayoutVars>
          <dgm:bulletEnabled val="1"/>
        </dgm:presLayoutVars>
      </dgm:prSet>
      <dgm:spPr/>
      <dgm:t>
        <a:bodyPr/>
        <a:lstStyle/>
        <a:p>
          <a:endParaRPr lang="en-ZA"/>
        </a:p>
      </dgm:t>
    </dgm:pt>
    <dgm:pt modelId="{F1D18C21-E28F-4971-BA9B-79041D46075A}" type="pres">
      <dgm:prSet presAssocID="{30587467-378A-401C-AE88-0776549BFF50}" presName="aSpace2" presStyleCnt="0"/>
      <dgm:spPr/>
    </dgm:pt>
    <dgm:pt modelId="{C1F6081B-E04D-4213-B0A0-3E87B2D41791}" type="pres">
      <dgm:prSet presAssocID="{7AAA0688-F606-4EBD-AD8E-CD2BC7BABA8A}" presName="childNode" presStyleLbl="node1" presStyleIdx="12" presStyleCnt="24">
        <dgm:presLayoutVars>
          <dgm:bulletEnabled val="1"/>
        </dgm:presLayoutVars>
      </dgm:prSet>
      <dgm:spPr/>
      <dgm:t>
        <a:bodyPr/>
        <a:lstStyle/>
        <a:p>
          <a:endParaRPr lang="en-ZA"/>
        </a:p>
      </dgm:t>
    </dgm:pt>
    <dgm:pt modelId="{9E9C25A3-A9B2-4AB6-886A-795A6FBBB1B5}" type="pres">
      <dgm:prSet presAssocID="{7AAA0688-F606-4EBD-AD8E-CD2BC7BABA8A}" presName="aSpace2" presStyleCnt="0"/>
      <dgm:spPr/>
    </dgm:pt>
    <dgm:pt modelId="{918A4BFB-BF2A-4402-B7DB-94DAFE48DF60}" type="pres">
      <dgm:prSet presAssocID="{18B831EE-3452-4E1F-9273-BEE78DF420F4}" presName="childNode" presStyleLbl="node1" presStyleIdx="13" presStyleCnt="24">
        <dgm:presLayoutVars>
          <dgm:bulletEnabled val="1"/>
        </dgm:presLayoutVars>
      </dgm:prSet>
      <dgm:spPr/>
      <dgm:t>
        <a:bodyPr/>
        <a:lstStyle/>
        <a:p>
          <a:endParaRPr lang="en-ZA"/>
        </a:p>
      </dgm:t>
    </dgm:pt>
    <dgm:pt modelId="{0D2FB1F5-FCED-486A-9555-AC3236102419}" type="pres">
      <dgm:prSet presAssocID="{18B831EE-3452-4E1F-9273-BEE78DF420F4}" presName="aSpace2" presStyleCnt="0"/>
      <dgm:spPr/>
    </dgm:pt>
    <dgm:pt modelId="{A8572CC3-A41A-4C0E-82DE-811FE01F0C2A}" type="pres">
      <dgm:prSet presAssocID="{C09311F5-5B63-4CC9-9AF6-77EEB122B241}" presName="childNode" presStyleLbl="node1" presStyleIdx="14" presStyleCnt="24">
        <dgm:presLayoutVars>
          <dgm:bulletEnabled val="1"/>
        </dgm:presLayoutVars>
      </dgm:prSet>
      <dgm:spPr/>
      <dgm:t>
        <a:bodyPr/>
        <a:lstStyle/>
        <a:p>
          <a:endParaRPr lang="en-ZA"/>
        </a:p>
      </dgm:t>
    </dgm:pt>
    <dgm:pt modelId="{DF4360D6-4E53-43AB-85A5-E06624CD949C}" type="pres">
      <dgm:prSet presAssocID="{C09311F5-5B63-4CC9-9AF6-77EEB122B241}" presName="aSpace2" presStyleCnt="0"/>
      <dgm:spPr/>
    </dgm:pt>
    <dgm:pt modelId="{4034F00C-E5AD-4884-B486-2DDE31DFE39D}" type="pres">
      <dgm:prSet presAssocID="{C6AAA554-A971-4D79-A429-7F6DEF7DCA93}" presName="childNode" presStyleLbl="node1" presStyleIdx="15" presStyleCnt="24">
        <dgm:presLayoutVars>
          <dgm:bulletEnabled val="1"/>
        </dgm:presLayoutVars>
      </dgm:prSet>
      <dgm:spPr/>
      <dgm:t>
        <a:bodyPr/>
        <a:lstStyle/>
        <a:p>
          <a:endParaRPr lang="en-ZA"/>
        </a:p>
      </dgm:t>
    </dgm:pt>
    <dgm:pt modelId="{61C48DDC-4EBB-4AD6-998E-1BAE49835D46}" type="pres">
      <dgm:prSet presAssocID="{C6AAA554-A971-4D79-A429-7F6DEF7DCA93}" presName="aSpace2" presStyleCnt="0"/>
      <dgm:spPr/>
    </dgm:pt>
    <dgm:pt modelId="{0EC030F3-6EB7-4AAC-B987-B09AE38FBB26}" type="pres">
      <dgm:prSet presAssocID="{0F2FAFB1-FCE6-44D6-A2A8-63D57FB565FC}" presName="childNode" presStyleLbl="node1" presStyleIdx="16" presStyleCnt="24">
        <dgm:presLayoutVars>
          <dgm:bulletEnabled val="1"/>
        </dgm:presLayoutVars>
      </dgm:prSet>
      <dgm:spPr/>
      <dgm:t>
        <a:bodyPr/>
        <a:lstStyle/>
        <a:p>
          <a:endParaRPr lang="en-ZA"/>
        </a:p>
      </dgm:t>
    </dgm:pt>
    <dgm:pt modelId="{FAD4CD09-E63E-4CEB-BCC6-BD662761AA43}" type="pres">
      <dgm:prSet presAssocID="{FBCEEB1D-63C6-4FAA-BAC3-833F14A4CCDC}" presName="aSpace" presStyleCnt="0"/>
      <dgm:spPr/>
    </dgm:pt>
    <dgm:pt modelId="{FA0A4179-4377-49FC-B5D9-8DDF58EDB992}" type="pres">
      <dgm:prSet presAssocID="{57C35D0C-7F92-4718-8A87-E171A93885C1}" presName="compNode" presStyleCnt="0"/>
      <dgm:spPr/>
    </dgm:pt>
    <dgm:pt modelId="{33902426-98D2-4C5F-B344-ECB12B30DF14}" type="pres">
      <dgm:prSet presAssocID="{57C35D0C-7F92-4718-8A87-E171A93885C1}" presName="aNode" presStyleLbl="bgShp" presStyleIdx="4" presStyleCnt="6"/>
      <dgm:spPr/>
      <dgm:t>
        <a:bodyPr/>
        <a:lstStyle/>
        <a:p>
          <a:endParaRPr lang="en-ZA"/>
        </a:p>
      </dgm:t>
    </dgm:pt>
    <dgm:pt modelId="{85080EB8-B3BC-4350-88A4-B327CA220135}" type="pres">
      <dgm:prSet presAssocID="{57C35D0C-7F92-4718-8A87-E171A93885C1}" presName="textNode" presStyleLbl="bgShp" presStyleIdx="4" presStyleCnt="6"/>
      <dgm:spPr/>
      <dgm:t>
        <a:bodyPr/>
        <a:lstStyle/>
        <a:p>
          <a:endParaRPr lang="en-ZA"/>
        </a:p>
      </dgm:t>
    </dgm:pt>
    <dgm:pt modelId="{F51EB130-51B4-4231-A4E7-6491FC7ED981}" type="pres">
      <dgm:prSet presAssocID="{57C35D0C-7F92-4718-8A87-E171A93885C1}" presName="compChildNode" presStyleCnt="0"/>
      <dgm:spPr/>
    </dgm:pt>
    <dgm:pt modelId="{897C06CC-AC9A-4CB7-AF03-47D9C162254B}" type="pres">
      <dgm:prSet presAssocID="{57C35D0C-7F92-4718-8A87-E171A93885C1}" presName="theInnerList" presStyleCnt="0"/>
      <dgm:spPr/>
    </dgm:pt>
    <dgm:pt modelId="{A0DCFAD7-28D4-46EE-ACEA-4B2AF9D93A12}" type="pres">
      <dgm:prSet presAssocID="{0B9FBEB6-F1D5-4CBB-8AB4-92C654D25F49}" presName="childNode" presStyleLbl="node1" presStyleIdx="17" presStyleCnt="24">
        <dgm:presLayoutVars>
          <dgm:bulletEnabled val="1"/>
        </dgm:presLayoutVars>
      </dgm:prSet>
      <dgm:spPr/>
      <dgm:t>
        <a:bodyPr/>
        <a:lstStyle/>
        <a:p>
          <a:endParaRPr lang="en-ZA"/>
        </a:p>
      </dgm:t>
    </dgm:pt>
    <dgm:pt modelId="{55C39611-2128-46E8-83B5-673EF5235D2F}" type="pres">
      <dgm:prSet presAssocID="{0B9FBEB6-F1D5-4CBB-8AB4-92C654D25F49}" presName="aSpace2" presStyleCnt="0"/>
      <dgm:spPr/>
    </dgm:pt>
    <dgm:pt modelId="{CCC92EE9-D638-4053-81D4-180EADE935C5}" type="pres">
      <dgm:prSet presAssocID="{CEDD47CE-5127-452F-81DE-38E8B4571C7A}" presName="childNode" presStyleLbl="node1" presStyleIdx="18" presStyleCnt="24">
        <dgm:presLayoutVars>
          <dgm:bulletEnabled val="1"/>
        </dgm:presLayoutVars>
      </dgm:prSet>
      <dgm:spPr/>
      <dgm:t>
        <a:bodyPr/>
        <a:lstStyle/>
        <a:p>
          <a:endParaRPr lang="en-ZA"/>
        </a:p>
      </dgm:t>
    </dgm:pt>
    <dgm:pt modelId="{34AC0DD5-FD80-479E-BCF4-5721A85B9BE3}" type="pres">
      <dgm:prSet presAssocID="{CEDD47CE-5127-452F-81DE-38E8B4571C7A}" presName="aSpace2" presStyleCnt="0"/>
      <dgm:spPr/>
    </dgm:pt>
    <dgm:pt modelId="{AF028914-7002-41E9-B5A6-D3D7DFC1B2F1}" type="pres">
      <dgm:prSet presAssocID="{66DC9E44-A655-4829-967A-9F671E8E4AE8}" presName="childNode" presStyleLbl="node1" presStyleIdx="19" presStyleCnt="24">
        <dgm:presLayoutVars>
          <dgm:bulletEnabled val="1"/>
        </dgm:presLayoutVars>
      </dgm:prSet>
      <dgm:spPr/>
      <dgm:t>
        <a:bodyPr/>
        <a:lstStyle/>
        <a:p>
          <a:endParaRPr lang="en-ZA"/>
        </a:p>
      </dgm:t>
    </dgm:pt>
    <dgm:pt modelId="{DBB5FC42-1A75-4BC3-ABAB-A3AD77EAF24C}" type="pres">
      <dgm:prSet presAssocID="{66DC9E44-A655-4829-967A-9F671E8E4AE8}" presName="aSpace2" presStyleCnt="0"/>
      <dgm:spPr/>
    </dgm:pt>
    <dgm:pt modelId="{F9E85531-19BC-430C-B972-B0E064303B02}" type="pres">
      <dgm:prSet presAssocID="{BBDB9D99-62CD-4B54-A579-25F8F03124CD}" presName="childNode" presStyleLbl="node1" presStyleIdx="20" presStyleCnt="24">
        <dgm:presLayoutVars>
          <dgm:bulletEnabled val="1"/>
        </dgm:presLayoutVars>
      </dgm:prSet>
      <dgm:spPr/>
      <dgm:t>
        <a:bodyPr/>
        <a:lstStyle/>
        <a:p>
          <a:endParaRPr lang="en-ZA"/>
        </a:p>
      </dgm:t>
    </dgm:pt>
    <dgm:pt modelId="{B199D163-F254-49BE-90E7-51B0FA4A783E}" type="pres">
      <dgm:prSet presAssocID="{BBDB9D99-62CD-4B54-A579-25F8F03124CD}" presName="aSpace2" presStyleCnt="0"/>
      <dgm:spPr/>
    </dgm:pt>
    <dgm:pt modelId="{DCB21598-7BC3-44E1-826B-78B749F386EA}" type="pres">
      <dgm:prSet presAssocID="{F1C8EDDA-51CE-42BE-B784-1156EAD86900}" presName="childNode" presStyleLbl="node1" presStyleIdx="21" presStyleCnt="24">
        <dgm:presLayoutVars>
          <dgm:bulletEnabled val="1"/>
        </dgm:presLayoutVars>
      </dgm:prSet>
      <dgm:spPr/>
      <dgm:t>
        <a:bodyPr/>
        <a:lstStyle/>
        <a:p>
          <a:endParaRPr lang="en-ZA"/>
        </a:p>
      </dgm:t>
    </dgm:pt>
    <dgm:pt modelId="{9F294824-929C-41BB-8152-CB09563DC2AA}" type="pres">
      <dgm:prSet presAssocID="{57C35D0C-7F92-4718-8A87-E171A93885C1}" presName="aSpace" presStyleCnt="0"/>
      <dgm:spPr/>
    </dgm:pt>
    <dgm:pt modelId="{8DF518FE-2EFD-49DF-88B1-A9C3EE180425}" type="pres">
      <dgm:prSet presAssocID="{D3CF4AFB-04A6-40F3-BAD7-7C443A0557E9}" presName="compNode" presStyleCnt="0"/>
      <dgm:spPr/>
    </dgm:pt>
    <dgm:pt modelId="{B63830DF-4979-4A38-A89A-2842F658E1CE}" type="pres">
      <dgm:prSet presAssocID="{D3CF4AFB-04A6-40F3-BAD7-7C443A0557E9}" presName="aNode" presStyleLbl="bgShp" presStyleIdx="5" presStyleCnt="6"/>
      <dgm:spPr/>
      <dgm:t>
        <a:bodyPr/>
        <a:lstStyle/>
        <a:p>
          <a:endParaRPr lang="en-ZA"/>
        </a:p>
      </dgm:t>
    </dgm:pt>
    <dgm:pt modelId="{423722B7-09F1-4427-9EA6-C4A81DEFCEBF}" type="pres">
      <dgm:prSet presAssocID="{D3CF4AFB-04A6-40F3-BAD7-7C443A0557E9}" presName="textNode" presStyleLbl="bgShp" presStyleIdx="5" presStyleCnt="6"/>
      <dgm:spPr/>
      <dgm:t>
        <a:bodyPr/>
        <a:lstStyle/>
        <a:p>
          <a:endParaRPr lang="en-ZA"/>
        </a:p>
      </dgm:t>
    </dgm:pt>
    <dgm:pt modelId="{4F98FD9B-421C-49C4-8C19-3BF529B9AD02}" type="pres">
      <dgm:prSet presAssocID="{D3CF4AFB-04A6-40F3-BAD7-7C443A0557E9}" presName="compChildNode" presStyleCnt="0"/>
      <dgm:spPr/>
    </dgm:pt>
    <dgm:pt modelId="{DFBDB38C-F662-4A0F-A3DB-0F3D8418439A}" type="pres">
      <dgm:prSet presAssocID="{D3CF4AFB-04A6-40F3-BAD7-7C443A0557E9}" presName="theInnerList" presStyleCnt="0"/>
      <dgm:spPr/>
    </dgm:pt>
    <dgm:pt modelId="{CBFDBA95-0BA1-4FCB-9BEF-8558B1179891}" type="pres">
      <dgm:prSet presAssocID="{2D4B55E7-0F00-402F-86CD-08C6FF4DFB64}" presName="childNode" presStyleLbl="node1" presStyleIdx="22" presStyleCnt="24">
        <dgm:presLayoutVars>
          <dgm:bulletEnabled val="1"/>
        </dgm:presLayoutVars>
      </dgm:prSet>
      <dgm:spPr/>
      <dgm:t>
        <a:bodyPr/>
        <a:lstStyle/>
        <a:p>
          <a:endParaRPr lang="en-ZA"/>
        </a:p>
      </dgm:t>
    </dgm:pt>
    <dgm:pt modelId="{076E33A8-81A5-4AB1-81AF-4473B40ABCEC}" type="pres">
      <dgm:prSet presAssocID="{2D4B55E7-0F00-402F-86CD-08C6FF4DFB64}" presName="aSpace2" presStyleCnt="0"/>
      <dgm:spPr/>
    </dgm:pt>
    <dgm:pt modelId="{EBB93498-7FCC-44DC-BCCD-E4E5FAC2A640}" type="pres">
      <dgm:prSet presAssocID="{EAD08BDA-9DDD-4DDC-9AD1-7CE7D058486D}" presName="childNode" presStyleLbl="node1" presStyleIdx="23" presStyleCnt="24">
        <dgm:presLayoutVars>
          <dgm:bulletEnabled val="1"/>
        </dgm:presLayoutVars>
      </dgm:prSet>
      <dgm:spPr/>
      <dgm:t>
        <a:bodyPr/>
        <a:lstStyle/>
        <a:p>
          <a:endParaRPr lang="en-ZA"/>
        </a:p>
      </dgm:t>
    </dgm:pt>
  </dgm:ptLst>
  <dgm:cxnLst>
    <dgm:cxn modelId="{2736871C-1CEA-479B-9A71-547F778E7455}" type="presOf" srcId="{2F03B64D-2403-4660-B475-DE1FD44A826F}" destId="{7FBABDE0-A8F4-443F-A518-1C4B4E1141D3}" srcOrd="0" destOrd="0" presId="urn:microsoft.com/office/officeart/2005/8/layout/lProcess2"/>
    <dgm:cxn modelId="{F88B8AC6-716C-4446-87C6-CAD258E3E8DF}" srcId="{0DE8DE8A-0884-4410-AFA9-9664481B5571}" destId="{9A684ABE-2C68-4DC0-9010-F47817BB1CE6}" srcOrd="1" destOrd="0" parTransId="{66E12251-DEBA-4EF2-8FCD-3E277FDCC8ED}" sibTransId="{DC54B185-5A64-4F7F-9E86-AA78A24B917E}"/>
    <dgm:cxn modelId="{E9955DCA-3649-4783-91DE-45B68F52B950}" type="presOf" srcId="{CEDD47CE-5127-452F-81DE-38E8B4571C7A}" destId="{CCC92EE9-D638-4053-81D4-180EADE935C5}" srcOrd="0" destOrd="0" presId="urn:microsoft.com/office/officeart/2005/8/layout/lProcess2"/>
    <dgm:cxn modelId="{A605F314-23C7-4FB0-A491-57CD93A77546}" type="presOf" srcId="{7AAA0688-F606-4EBD-AD8E-CD2BC7BABA8A}" destId="{C1F6081B-E04D-4213-B0A0-3E87B2D41791}" srcOrd="0" destOrd="0" presId="urn:microsoft.com/office/officeart/2005/8/layout/lProcess2"/>
    <dgm:cxn modelId="{38A06BF7-9C6F-4FA2-B814-CB60E66089BA}" srcId="{FBCEEB1D-63C6-4FAA-BAC3-833F14A4CCDC}" destId="{C6AAA554-A971-4D79-A429-7F6DEF7DCA93}" srcOrd="6" destOrd="0" parTransId="{A7B56847-7108-4071-A2D0-4C04890FE78A}" sibTransId="{D8D903A3-F1E1-4B20-A62D-6215A8156808}"/>
    <dgm:cxn modelId="{8583E3E4-924E-4C2C-91B4-5DCD94942E7C}" type="presOf" srcId="{516B9CDB-7733-4217-932B-9B4EDBD1D613}" destId="{F160AE3C-F036-402B-8D8F-2D8AB14DD91F}" srcOrd="0" destOrd="0" presId="urn:microsoft.com/office/officeart/2005/8/layout/lProcess2"/>
    <dgm:cxn modelId="{CB4C9936-7228-4718-A995-B0DC82BAFED5}" type="presOf" srcId="{FBCEEB1D-63C6-4FAA-BAC3-833F14A4CCDC}" destId="{68FFAE6F-B486-4243-A4E4-D6B83F3889E1}" srcOrd="1" destOrd="0" presId="urn:microsoft.com/office/officeart/2005/8/layout/lProcess2"/>
    <dgm:cxn modelId="{BE0E0229-ED15-4776-9269-B3D06E0A6056}" type="presOf" srcId="{01823027-A3B9-491C-8EFA-AC62089F45B5}" destId="{C9F65BC7-6A19-4FB2-82BF-A2B05529F82E}" srcOrd="0" destOrd="0" presId="urn:microsoft.com/office/officeart/2005/8/layout/lProcess2"/>
    <dgm:cxn modelId="{1FF3AC17-DAB1-48FB-A5A9-7C555FCD5A29}" type="presOf" srcId="{FBCEEB1D-63C6-4FAA-BAC3-833F14A4CCDC}" destId="{DA9E3B09-B218-424D-9A9E-6C0B281596BB}" srcOrd="0" destOrd="0" presId="urn:microsoft.com/office/officeart/2005/8/layout/lProcess2"/>
    <dgm:cxn modelId="{613ED2CA-D823-445C-9BE2-43AC3BE248E7}" type="presOf" srcId="{18B831EE-3452-4E1F-9273-BEE78DF420F4}" destId="{918A4BFB-BF2A-4402-B7DB-94DAFE48DF60}" srcOrd="0" destOrd="0" presId="urn:microsoft.com/office/officeart/2005/8/layout/lProcess2"/>
    <dgm:cxn modelId="{DFBA94EF-952E-4E24-8418-CBAF79477ECD}" type="presOf" srcId="{D3CF4AFB-04A6-40F3-BAD7-7C443A0557E9}" destId="{B63830DF-4979-4A38-A89A-2842F658E1CE}" srcOrd="0" destOrd="0" presId="urn:microsoft.com/office/officeart/2005/8/layout/lProcess2"/>
    <dgm:cxn modelId="{9D09A6B6-853B-43FB-8203-404E20E01478}" type="presOf" srcId="{D3CF4AFB-04A6-40F3-BAD7-7C443A0557E9}" destId="{423722B7-09F1-4427-9EA6-C4A81DEFCEBF}" srcOrd="1" destOrd="0" presId="urn:microsoft.com/office/officeart/2005/8/layout/lProcess2"/>
    <dgm:cxn modelId="{0E9CC97D-2FEB-403C-9B3E-1FCB895ED01D}" type="presOf" srcId="{07A320B2-817A-4A40-8A35-3FB929D5E65E}" destId="{995D5F5A-FFEE-4498-818A-B62E041DFD04}" srcOrd="0" destOrd="0" presId="urn:microsoft.com/office/officeart/2005/8/layout/lProcess2"/>
    <dgm:cxn modelId="{4311FE13-0739-454B-902E-55C3A869E2D7}" srcId="{D30C9C82-5F73-4D59-B9B3-E229F741FA6F}" destId="{717F2636-4687-41C4-9FAB-DB1C0780ABD8}" srcOrd="2" destOrd="0" parTransId="{4E45B15B-DCB5-40F3-AAD0-A5AC1AB01C2E}" sibTransId="{C37D9F71-5F2B-42FA-A449-3CFDD3F8B7F7}"/>
    <dgm:cxn modelId="{8B24495E-8E8D-404F-BCE1-814B453B3E7A}" type="presOf" srcId="{F1C8EDDA-51CE-42BE-B784-1156EAD86900}" destId="{DCB21598-7BC3-44E1-826B-78B749F386EA}" srcOrd="0" destOrd="0" presId="urn:microsoft.com/office/officeart/2005/8/layout/lProcess2"/>
    <dgm:cxn modelId="{43AE0813-43BB-4FCD-904F-EF4BD00933DA}" type="presOf" srcId="{7CE73B2F-FAFD-4EEE-A9FF-F6D4F373E706}" destId="{25C34C51-DD44-4CF7-9093-8E431A21B64C}" srcOrd="0" destOrd="0" presId="urn:microsoft.com/office/officeart/2005/8/layout/lProcess2"/>
    <dgm:cxn modelId="{8CEFBE1D-9DDD-4B79-B400-520E31E20F85}" type="presOf" srcId="{66DC9E44-A655-4829-967A-9F671E8E4AE8}" destId="{AF028914-7002-41E9-B5A6-D3D7DFC1B2F1}" srcOrd="0" destOrd="0" presId="urn:microsoft.com/office/officeart/2005/8/layout/lProcess2"/>
    <dgm:cxn modelId="{A8183BB4-1B3A-443F-8A02-CD64B2CE8669}" srcId="{0DE8DE8A-0884-4410-AFA9-9664481B5571}" destId="{C03CAFE0-B1FB-49B1-823A-DD8363B57892}" srcOrd="3" destOrd="0" parTransId="{6F6C9669-33C9-46CC-B626-F3A57B60439F}" sibTransId="{0CB5EAC1-D171-456C-9804-6DA231E98B8A}"/>
    <dgm:cxn modelId="{4E7CA49C-281A-4BDA-B381-3AF10227CC1C}" srcId="{57C35D0C-7F92-4718-8A87-E171A93885C1}" destId="{BBDB9D99-62CD-4B54-A579-25F8F03124CD}" srcOrd="3" destOrd="0" parTransId="{51512EFC-B2FF-4D82-8558-4D2C19251BB9}" sibTransId="{7A9AE2C6-7BB7-4D29-80DD-BDA9A1AF9356}"/>
    <dgm:cxn modelId="{991408F1-5F5D-4372-9682-B599809060D5}" srcId="{7CE73B2F-FAFD-4EEE-A9FF-F6D4F373E706}" destId="{FBCEEB1D-63C6-4FAA-BAC3-833F14A4CCDC}" srcOrd="3" destOrd="0" parTransId="{08789181-01B1-434A-898C-A4D4E2884DF7}" sibTransId="{7A6D933C-730A-4CEF-9846-5F567273BACA}"/>
    <dgm:cxn modelId="{A9E34F23-FE32-4DB0-A466-9FB4D2574590}" type="presOf" srcId="{9A684ABE-2C68-4DC0-9010-F47817BB1CE6}" destId="{BFC457F6-FF95-4004-B141-14E05FBDD470}" srcOrd="0" destOrd="0" presId="urn:microsoft.com/office/officeart/2005/8/layout/lProcess2"/>
    <dgm:cxn modelId="{7691E205-FC9E-4249-A3B7-12C69847EE28}" type="presOf" srcId="{D30C9C82-5F73-4D59-B9B3-E229F741FA6F}" destId="{5B50CB7B-9099-49D3-ABC7-125DCA43CCD9}" srcOrd="0" destOrd="0" presId="urn:microsoft.com/office/officeart/2005/8/layout/lProcess2"/>
    <dgm:cxn modelId="{CE98D2FF-DAFD-4CAE-8176-BE0E97F15B10}" type="presOf" srcId="{1734ACA3-103F-4DB8-B73C-4461B2906292}" destId="{3B34FDFE-936D-483A-A038-77B8C191A391}" srcOrd="0" destOrd="0" presId="urn:microsoft.com/office/officeart/2005/8/layout/lProcess2"/>
    <dgm:cxn modelId="{6F34F6A8-AF78-4ACF-B09E-BAD127D34D56}" srcId="{FBCEEB1D-63C6-4FAA-BAC3-833F14A4CCDC}" destId="{30587467-378A-401C-AE88-0776549BFF50}" srcOrd="2" destOrd="0" parTransId="{F878D827-2C2D-4365-961E-5A5A7980E941}" sibTransId="{D34B73CE-4797-4A2C-AB74-ECB256869AC8}"/>
    <dgm:cxn modelId="{1167E469-7505-424C-9795-FF1EA8155D3E}" type="presOf" srcId="{717F2636-4687-41C4-9FAB-DB1C0780ABD8}" destId="{FAE56CCC-BDFB-4648-9D9F-FFB8983222B2}" srcOrd="0" destOrd="0" presId="urn:microsoft.com/office/officeart/2005/8/layout/lProcess2"/>
    <dgm:cxn modelId="{AB941037-2A7D-4FC9-8386-3C961ADD160B}" srcId="{FBCEEB1D-63C6-4FAA-BAC3-833F14A4CCDC}" destId="{7AAA0688-F606-4EBD-AD8E-CD2BC7BABA8A}" srcOrd="3" destOrd="0" parTransId="{50C0390B-EEB3-4395-817D-8C5F3BAE8328}" sibTransId="{5E8E175F-E1FF-4B4B-9AFC-855634778F36}"/>
    <dgm:cxn modelId="{1CB7AF21-7262-43BD-844A-5E253F871AA7}" srcId="{FBCEEB1D-63C6-4FAA-BAC3-833F14A4CCDC}" destId="{0F2FAFB1-FCE6-44D6-A2A8-63D57FB565FC}" srcOrd="7" destOrd="0" parTransId="{11C07C15-F5C4-41F2-88FC-D549867F026F}" sibTransId="{A2A2293E-2095-41C8-9BAE-175803310F1C}"/>
    <dgm:cxn modelId="{41FC54AC-FC9D-48BC-9FCB-7E2E255A2CD0}" type="presOf" srcId="{2D4B55E7-0F00-402F-86CD-08C6FF4DFB64}" destId="{CBFDBA95-0BA1-4FCB-9BEF-8558B1179891}" srcOrd="0" destOrd="0" presId="urn:microsoft.com/office/officeart/2005/8/layout/lProcess2"/>
    <dgm:cxn modelId="{A2805197-8972-4B71-8E3A-807F892D4991}" type="presOf" srcId="{F0CA0E10-7139-48FD-8EB1-D4F68DC4AA7F}" destId="{249765C8-CC0F-4DDC-B32D-FF11D3CE524B}" srcOrd="0" destOrd="0" presId="urn:microsoft.com/office/officeart/2005/8/layout/lProcess2"/>
    <dgm:cxn modelId="{DB3E6D15-5263-48CF-9E6C-D268A05E8644}" type="presOf" srcId="{BBDB9D99-62CD-4B54-A579-25F8F03124CD}" destId="{F9E85531-19BC-430C-B972-B0E064303B02}" srcOrd="0" destOrd="0" presId="urn:microsoft.com/office/officeart/2005/8/layout/lProcess2"/>
    <dgm:cxn modelId="{570B971F-B8F4-4EE5-80D2-8E953B3707E4}" type="presOf" srcId="{57C35D0C-7F92-4718-8A87-E171A93885C1}" destId="{33902426-98D2-4C5F-B344-ECB12B30DF14}" srcOrd="0" destOrd="0" presId="urn:microsoft.com/office/officeart/2005/8/layout/lProcess2"/>
    <dgm:cxn modelId="{639406EB-2A7C-4DD2-9435-CAA7CE16F187}" srcId="{FBCEEB1D-63C6-4FAA-BAC3-833F14A4CCDC}" destId="{C09311F5-5B63-4CC9-9AF6-77EEB122B241}" srcOrd="5" destOrd="0" parTransId="{3EE83A32-520D-44FE-9CBC-8678F14BAA52}" sibTransId="{1CFA8E05-7EC9-47A9-A9F4-4F5B720E1696}"/>
    <dgm:cxn modelId="{FA7BF276-86A4-4D9F-BC22-7F3D57D1D831}" srcId="{7CE73B2F-FAFD-4EEE-A9FF-F6D4F373E706}" destId="{57C35D0C-7F92-4718-8A87-E171A93885C1}" srcOrd="4" destOrd="0" parTransId="{5767DDCA-F48C-4FDA-8498-70CEFBEFF091}" sibTransId="{8E468EB9-6190-49FB-9DD9-CAD5851BE663}"/>
    <dgm:cxn modelId="{165B0FAF-1576-488E-A8EA-B6E494962CE8}" srcId="{D3CF4AFB-04A6-40F3-BAD7-7C443A0557E9}" destId="{2D4B55E7-0F00-402F-86CD-08C6FF4DFB64}" srcOrd="0" destOrd="0" parTransId="{5428C88F-3491-42D8-9C55-A76E45A769C1}" sibTransId="{DF0627AA-5695-418A-A2C1-C7B1C227487E}"/>
    <dgm:cxn modelId="{C9710589-9E30-4A15-A9B8-3C1FE79D07ED}" srcId="{FBCEEB1D-63C6-4FAA-BAC3-833F14A4CCDC}" destId="{18B831EE-3452-4E1F-9273-BEE78DF420F4}" srcOrd="4" destOrd="0" parTransId="{5291CDA2-1317-4065-A555-DFDD8E8860F4}" sibTransId="{600F4DDC-C544-4C9C-9AB6-89E29AF17FED}"/>
    <dgm:cxn modelId="{B7E53F0C-A035-4A90-A5EF-F87FE1C2F42C}" srcId="{7CE73B2F-FAFD-4EEE-A9FF-F6D4F373E706}" destId="{D3CF4AFB-04A6-40F3-BAD7-7C443A0557E9}" srcOrd="5" destOrd="0" parTransId="{FCE8B2A3-0428-4A81-B8E5-9045C8A92D06}" sibTransId="{6F88E96E-33DA-440E-86CC-2097FF481004}"/>
    <dgm:cxn modelId="{82AECCE1-0835-45E6-87D8-BF49B5D23D3C}" srcId="{D3CF4AFB-04A6-40F3-BAD7-7C443A0557E9}" destId="{EAD08BDA-9DDD-4DDC-9AD1-7CE7D058486D}" srcOrd="1" destOrd="0" parTransId="{D2DCEAAC-455D-462E-89E3-203DEAF791DD}" sibTransId="{AAFBDE3E-179A-40BF-B6B3-2679F1843BEB}"/>
    <dgm:cxn modelId="{85DA1596-A470-4C1C-BB85-362784415E5B}" type="presOf" srcId="{0DE8DE8A-0884-4410-AFA9-9664481B5571}" destId="{B423EEEF-7E0C-4065-8F0A-7BE9E962D0A4}" srcOrd="0" destOrd="0" presId="urn:microsoft.com/office/officeart/2005/8/layout/lProcess2"/>
    <dgm:cxn modelId="{C7F98C09-DF1C-49C8-8638-6FCE64F92484}" type="presOf" srcId="{0F2FAFB1-FCE6-44D6-A2A8-63D57FB565FC}" destId="{0EC030F3-6EB7-4AAC-B987-B09AE38FBB26}" srcOrd="0" destOrd="0" presId="urn:microsoft.com/office/officeart/2005/8/layout/lProcess2"/>
    <dgm:cxn modelId="{08D8F936-72B0-441E-AF41-624EFE9DCB88}" type="presOf" srcId="{0B9FBEB6-F1D5-4CBB-8AB4-92C654D25F49}" destId="{A0DCFAD7-28D4-46EE-ACEA-4B2AF9D93A12}" srcOrd="0" destOrd="0" presId="urn:microsoft.com/office/officeart/2005/8/layout/lProcess2"/>
    <dgm:cxn modelId="{AD6D0465-7EA1-497F-900B-A1D9B6AE71ED}" srcId="{57C35D0C-7F92-4718-8A87-E171A93885C1}" destId="{0B9FBEB6-F1D5-4CBB-8AB4-92C654D25F49}" srcOrd="0" destOrd="0" parTransId="{186CA2F9-9694-433A-82BE-63AFECB555C4}" sibTransId="{6514BD0E-572C-418B-B162-CE4D383D7C7F}"/>
    <dgm:cxn modelId="{8645382B-5C53-424A-98C2-B96FE08A5ED5}" srcId="{7CE73B2F-FAFD-4EEE-A9FF-F6D4F373E706}" destId="{113DA095-5452-435F-AA7B-FAC458BB8D4C}" srcOrd="0" destOrd="0" parTransId="{E31D0E47-44FC-4AE4-9A0A-AEA0EA75B572}" sibTransId="{BC43D459-43C0-4F28-A88F-E13599987487}"/>
    <dgm:cxn modelId="{5E67C411-A37C-48BD-8DA2-16719D1DF50B}" srcId="{0DE8DE8A-0884-4410-AFA9-9664481B5571}" destId="{2F03B64D-2403-4660-B475-DE1FD44A826F}" srcOrd="2" destOrd="0" parTransId="{91A19E33-D3D4-40AF-85EC-E4165A95FF3D}" sibTransId="{E589CC0D-441F-406B-8A22-00B349BF15A4}"/>
    <dgm:cxn modelId="{F202F5ED-81A3-4EAB-9725-CEE1822314BD}" srcId="{57C35D0C-7F92-4718-8A87-E171A93885C1}" destId="{CEDD47CE-5127-452F-81DE-38E8B4571C7A}" srcOrd="1" destOrd="0" parTransId="{840B66B6-2719-432B-B85C-B5A66AF2EC14}" sibTransId="{EFD89FF3-0E38-44C7-AF97-6D3FFEDD6142}"/>
    <dgm:cxn modelId="{2A93B65D-3CAC-418D-8959-A9521781C1CF}" srcId="{FBCEEB1D-63C6-4FAA-BAC3-833F14A4CCDC}" destId="{A6B5768B-E2DD-4197-9698-9A4204CC8892}" srcOrd="1" destOrd="0" parTransId="{9DB37557-D171-443A-8E29-7BE0B085D57A}" sibTransId="{0CDD5BA3-5B75-42BB-8806-3E8EAD4C0341}"/>
    <dgm:cxn modelId="{2DBCDCE0-285E-4C46-9785-4C81EE4B769E}" type="presOf" srcId="{113DA095-5452-435F-AA7B-FAC458BB8D4C}" destId="{75F72EC7-A214-4FC2-8112-2BFCCF8B6826}" srcOrd="0" destOrd="0" presId="urn:microsoft.com/office/officeart/2005/8/layout/lProcess2"/>
    <dgm:cxn modelId="{FE80AD2E-C20C-4D48-92BC-4427B796621D}" srcId="{57C35D0C-7F92-4718-8A87-E171A93885C1}" destId="{F1C8EDDA-51CE-42BE-B784-1156EAD86900}" srcOrd="4" destOrd="0" parTransId="{85328DE5-5516-49FD-A2B6-1B2269C4B030}" sibTransId="{555E12D4-1C7A-4F04-8D9E-56554E6C20C1}"/>
    <dgm:cxn modelId="{E83D6BFF-9D62-40D8-999C-48A4A990AB0A}" srcId="{D30C9C82-5F73-4D59-B9B3-E229F741FA6F}" destId="{F0CA0E10-7139-48FD-8EB1-D4F68DC4AA7F}" srcOrd="0" destOrd="0" parTransId="{05B39971-795A-4714-AA50-D06E27350C61}" sibTransId="{B089E659-ADCA-4F3D-9E9C-0E8A293F1B27}"/>
    <dgm:cxn modelId="{599925A5-7D92-40E0-89E4-0D40A2F08090}" type="presOf" srcId="{A6B5768B-E2DD-4197-9698-9A4204CC8892}" destId="{C7E9CB72-BB50-4175-B9DF-EA831C3D0264}" srcOrd="0" destOrd="0" presId="urn:microsoft.com/office/officeart/2005/8/layout/lProcess2"/>
    <dgm:cxn modelId="{859A6BBE-D3C9-4332-BA98-B211EB83C8C3}" srcId="{0DE8DE8A-0884-4410-AFA9-9664481B5571}" destId="{07A320B2-817A-4A40-8A35-3FB929D5E65E}" srcOrd="0" destOrd="0" parTransId="{C8D9C16C-7E42-42A8-9F02-D91B92632D00}" sibTransId="{90226AF9-5EA2-4FFF-BC1B-8A5A054F2A6D}"/>
    <dgm:cxn modelId="{8CB09DDD-F332-437E-9AA0-55F5738AF9B4}" srcId="{113DA095-5452-435F-AA7B-FAC458BB8D4C}" destId="{01823027-A3B9-491C-8EFA-AC62089F45B5}" srcOrd="1" destOrd="0" parTransId="{D36BFEEF-83D8-4FEF-9267-FE88D873CEBE}" sibTransId="{AB8E6864-41FC-48A3-AEEB-AE517684FFB5}"/>
    <dgm:cxn modelId="{BA7DAB42-C60A-42F5-AE41-2582075917D7}" type="presOf" srcId="{D30C9C82-5F73-4D59-B9B3-E229F741FA6F}" destId="{F458E3B3-8840-443F-A49D-0A54B25C98B1}" srcOrd="1" destOrd="0" presId="urn:microsoft.com/office/officeart/2005/8/layout/lProcess2"/>
    <dgm:cxn modelId="{14EAE25E-3A90-44FA-9983-C9E591ACA0BA}" srcId="{7CE73B2F-FAFD-4EEE-A9FF-F6D4F373E706}" destId="{0DE8DE8A-0884-4410-AFA9-9664481B5571}" srcOrd="1" destOrd="0" parTransId="{71B102B8-9C4B-4AA1-8CB5-FC934F7222BC}" sibTransId="{DCA1C4F9-08AF-4DC7-A94B-0A0464A55DCC}"/>
    <dgm:cxn modelId="{5601FE4F-2006-4DA7-A3A3-ECF9940DC2C9}" srcId="{D30C9C82-5F73-4D59-B9B3-E229F741FA6F}" destId="{516B9CDB-7733-4217-932B-9B4EDBD1D613}" srcOrd="1" destOrd="0" parTransId="{27218679-8C6B-4944-B394-FA99F201D621}" sibTransId="{C4A52F5F-0551-4CF0-9EA4-E733F7286FC0}"/>
    <dgm:cxn modelId="{ED8E8DBA-DB0E-45AB-882D-795AA6ABC4AB}" type="presOf" srcId="{0DE8DE8A-0884-4410-AFA9-9664481B5571}" destId="{BD9F3F95-002F-44A9-A237-DD1201CCC13B}" srcOrd="1" destOrd="0" presId="urn:microsoft.com/office/officeart/2005/8/layout/lProcess2"/>
    <dgm:cxn modelId="{672154FF-34DB-476E-9EC9-498115B71130}" type="presOf" srcId="{113DA095-5452-435F-AA7B-FAC458BB8D4C}" destId="{9BC95D67-8633-425D-A6CB-B1E2A40B6885}" srcOrd="1" destOrd="0" presId="urn:microsoft.com/office/officeart/2005/8/layout/lProcess2"/>
    <dgm:cxn modelId="{151207E1-F1DD-445D-AC1C-1042FE002749}" type="presOf" srcId="{C6AAA554-A971-4D79-A429-7F6DEF7DCA93}" destId="{4034F00C-E5AD-4884-B486-2DDE31DFE39D}" srcOrd="0" destOrd="0" presId="urn:microsoft.com/office/officeart/2005/8/layout/lProcess2"/>
    <dgm:cxn modelId="{97E9696A-6CC7-4226-8FAC-EDEF1A0CE586}" srcId="{57C35D0C-7F92-4718-8A87-E171A93885C1}" destId="{66DC9E44-A655-4829-967A-9F671E8E4AE8}" srcOrd="2" destOrd="0" parTransId="{73F816A5-7184-4C0A-AD87-BC79EC3FE4B0}" sibTransId="{8D035B5A-7911-4306-B969-05DCAC97429B}"/>
    <dgm:cxn modelId="{131CB773-599F-4E89-B609-32D04AF3B254}" type="presOf" srcId="{58D1EFB0-837F-4369-99AD-F45B2BB3EFED}" destId="{C9EBDD62-4263-4E86-8EC6-823521B7196B}" srcOrd="0" destOrd="0" presId="urn:microsoft.com/office/officeart/2005/8/layout/lProcess2"/>
    <dgm:cxn modelId="{DCC695F4-A16C-4A13-B654-C2BE39B8B33E}" type="presOf" srcId="{30587467-378A-401C-AE88-0776549BFF50}" destId="{0891D493-71E1-4FEE-8709-DEB031B5BDD3}" srcOrd="0" destOrd="0" presId="urn:microsoft.com/office/officeart/2005/8/layout/lProcess2"/>
    <dgm:cxn modelId="{240C077A-C14D-4453-9481-3469BA895658}" type="presOf" srcId="{57C35D0C-7F92-4718-8A87-E171A93885C1}" destId="{85080EB8-B3BC-4350-88A4-B327CA220135}" srcOrd="1" destOrd="0" presId="urn:microsoft.com/office/officeart/2005/8/layout/lProcess2"/>
    <dgm:cxn modelId="{49F7D6C8-C3D1-4DD5-B2D1-17E9BC1040EB}" srcId="{FBCEEB1D-63C6-4FAA-BAC3-833F14A4CCDC}" destId="{58D1EFB0-837F-4369-99AD-F45B2BB3EFED}" srcOrd="0" destOrd="0" parTransId="{4A78BA9C-70EF-48BD-9E1D-3299BA9A9A5E}" sibTransId="{48FAA41A-EAEF-47D4-9F6A-C75E2098A121}"/>
    <dgm:cxn modelId="{9EAF30E4-E22B-4B9F-AE82-B04FE0BDE63E}" type="presOf" srcId="{EAD08BDA-9DDD-4DDC-9AD1-7CE7D058486D}" destId="{EBB93498-7FCC-44DC-BCCD-E4E5FAC2A640}" srcOrd="0" destOrd="0" presId="urn:microsoft.com/office/officeart/2005/8/layout/lProcess2"/>
    <dgm:cxn modelId="{0AB86B1E-BD4B-44C9-9891-3893F431CA0D}" srcId="{7CE73B2F-FAFD-4EEE-A9FF-F6D4F373E706}" destId="{D30C9C82-5F73-4D59-B9B3-E229F741FA6F}" srcOrd="2" destOrd="0" parTransId="{65CFCADE-B126-49FE-93E5-95A98E25A73A}" sibTransId="{B3307AB8-2739-4523-B9B0-FFD77925BB40}"/>
    <dgm:cxn modelId="{BC71475F-8EF4-4E39-BC3D-ABB440FF829E}" type="presOf" srcId="{C09311F5-5B63-4CC9-9AF6-77EEB122B241}" destId="{A8572CC3-A41A-4C0E-82DE-811FE01F0C2A}" srcOrd="0" destOrd="0" presId="urn:microsoft.com/office/officeart/2005/8/layout/lProcess2"/>
    <dgm:cxn modelId="{6A6E1C5D-6395-4F04-AA91-2D4541AA7058}" type="presOf" srcId="{C03CAFE0-B1FB-49B1-823A-DD8363B57892}" destId="{CB60BE14-296E-4077-ADF6-AE6AB117158D}" srcOrd="0" destOrd="0" presId="urn:microsoft.com/office/officeart/2005/8/layout/lProcess2"/>
    <dgm:cxn modelId="{E9EBC4E6-0835-4B29-B4C7-CE1D9A5A0E6D}" srcId="{113DA095-5452-435F-AA7B-FAC458BB8D4C}" destId="{1734ACA3-103F-4DB8-B73C-4461B2906292}" srcOrd="0" destOrd="0" parTransId="{90473797-7122-4780-B5C7-374FFE89A446}" sibTransId="{DAADA45B-56BE-46D4-926F-61C1A02B4C15}"/>
    <dgm:cxn modelId="{56FBF44C-10AE-4956-BBA2-2CF36A9CCCBF}" type="presParOf" srcId="{25C34C51-DD44-4CF7-9093-8E431A21B64C}" destId="{41E61EFC-DE92-4069-9BB0-5750A196C60C}" srcOrd="0" destOrd="0" presId="urn:microsoft.com/office/officeart/2005/8/layout/lProcess2"/>
    <dgm:cxn modelId="{FE435757-6209-42DE-9110-EFA24F9964EA}" type="presParOf" srcId="{41E61EFC-DE92-4069-9BB0-5750A196C60C}" destId="{75F72EC7-A214-4FC2-8112-2BFCCF8B6826}" srcOrd="0" destOrd="0" presId="urn:microsoft.com/office/officeart/2005/8/layout/lProcess2"/>
    <dgm:cxn modelId="{E68C5E5C-72A4-4A0B-95DF-EDEC225D95A2}" type="presParOf" srcId="{41E61EFC-DE92-4069-9BB0-5750A196C60C}" destId="{9BC95D67-8633-425D-A6CB-B1E2A40B6885}" srcOrd="1" destOrd="0" presId="urn:microsoft.com/office/officeart/2005/8/layout/lProcess2"/>
    <dgm:cxn modelId="{2B74AFF5-961B-4297-81FB-F8F1D375579D}" type="presParOf" srcId="{41E61EFC-DE92-4069-9BB0-5750A196C60C}" destId="{6FF7FCAE-AA24-4A9C-A3D4-8D8C8C5B5519}" srcOrd="2" destOrd="0" presId="urn:microsoft.com/office/officeart/2005/8/layout/lProcess2"/>
    <dgm:cxn modelId="{2D8052F4-674F-4746-9898-77F76C2806EE}" type="presParOf" srcId="{6FF7FCAE-AA24-4A9C-A3D4-8D8C8C5B5519}" destId="{914B2803-74F9-4516-8EB9-0ED031387988}" srcOrd="0" destOrd="0" presId="urn:microsoft.com/office/officeart/2005/8/layout/lProcess2"/>
    <dgm:cxn modelId="{CE434A1C-794E-4DFA-BC33-08DE8EC368A2}" type="presParOf" srcId="{914B2803-74F9-4516-8EB9-0ED031387988}" destId="{3B34FDFE-936D-483A-A038-77B8C191A391}" srcOrd="0" destOrd="0" presId="urn:microsoft.com/office/officeart/2005/8/layout/lProcess2"/>
    <dgm:cxn modelId="{056F5F90-FD04-4E4C-B5E6-5B3EF2DDA4E1}" type="presParOf" srcId="{914B2803-74F9-4516-8EB9-0ED031387988}" destId="{6A05FFFE-189A-4AF4-AC15-5CE0B1831ED1}" srcOrd="1" destOrd="0" presId="urn:microsoft.com/office/officeart/2005/8/layout/lProcess2"/>
    <dgm:cxn modelId="{D7276EE5-0ECF-45F0-B6A4-DA3B839FB2E6}" type="presParOf" srcId="{914B2803-74F9-4516-8EB9-0ED031387988}" destId="{C9F65BC7-6A19-4FB2-82BF-A2B05529F82E}" srcOrd="2" destOrd="0" presId="urn:microsoft.com/office/officeart/2005/8/layout/lProcess2"/>
    <dgm:cxn modelId="{FFB192BC-2581-4C83-B16C-185DC2B5F768}" type="presParOf" srcId="{25C34C51-DD44-4CF7-9093-8E431A21B64C}" destId="{2AAF9880-DEC7-42F6-A055-88307C3FB33D}" srcOrd="1" destOrd="0" presId="urn:microsoft.com/office/officeart/2005/8/layout/lProcess2"/>
    <dgm:cxn modelId="{81A114E6-A89D-4963-9D37-40531A583229}" type="presParOf" srcId="{25C34C51-DD44-4CF7-9093-8E431A21B64C}" destId="{FBA55374-AA05-4E23-A02F-7ED88A254A1A}" srcOrd="2" destOrd="0" presId="urn:microsoft.com/office/officeart/2005/8/layout/lProcess2"/>
    <dgm:cxn modelId="{CE94DCB6-8602-4FE9-BB3A-7FEAE4C2025F}" type="presParOf" srcId="{FBA55374-AA05-4E23-A02F-7ED88A254A1A}" destId="{B423EEEF-7E0C-4065-8F0A-7BE9E962D0A4}" srcOrd="0" destOrd="0" presId="urn:microsoft.com/office/officeart/2005/8/layout/lProcess2"/>
    <dgm:cxn modelId="{1B76ACDE-1296-41AF-B7D5-69C3F7C8E19D}" type="presParOf" srcId="{FBA55374-AA05-4E23-A02F-7ED88A254A1A}" destId="{BD9F3F95-002F-44A9-A237-DD1201CCC13B}" srcOrd="1" destOrd="0" presId="urn:microsoft.com/office/officeart/2005/8/layout/lProcess2"/>
    <dgm:cxn modelId="{1F2865F2-0585-467B-9799-AE2D2AF82A44}" type="presParOf" srcId="{FBA55374-AA05-4E23-A02F-7ED88A254A1A}" destId="{334FD5FC-2142-4BFF-ABD7-BA0CD193C5EE}" srcOrd="2" destOrd="0" presId="urn:microsoft.com/office/officeart/2005/8/layout/lProcess2"/>
    <dgm:cxn modelId="{05699210-F1E5-454B-887E-D53FDBC8AA4E}" type="presParOf" srcId="{334FD5FC-2142-4BFF-ABD7-BA0CD193C5EE}" destId="{EF646CFA-9D0D-4B8A-900A-296C93D09BBE}" srcOrd="0" destOrd="0" presId="urn:microsoft.com/office/officeart/2005/8/layout/lProcess2"/>
    <dgm:cxn modelId="{8E9CFEFB-8787-4DAA-8F39-48E1FD2CCCDD}" type="presParOf" srcId="{EF646CFA-9D0D-4B8A-900A-296C93D09BBE}" destId="{995D5F5A-FFEE-4498-818A-B62E041DFD04}" srcOrd="0" destOrd="0" presId="urn:microsoft.com/office/officeart/2005/8/layout/lProcess2"/>
    <dgm:cxn modelId="{71115A0F-0D6A-42FF-A1D1-1896180BB93A}" type="presParOf" srcId="{EF646CFA-9D0D-4B8A-900A-296C93D09BBE}" destId="{64C1376D-5A71-4022-8B1F-52A3F1FFF04C}" srcOrd="1" destOrd="0" presId="urn:microsoft.com/office/officeart/2005/8/layout/lProcess2"/>
    <dgm:cxn modelId="{11733965-DD30-489F-B065-71742B5CD827}" type="presParOf" srcId="{EF646CFA-9D0D-4B8A-900A-296C93D09BBE}" destId="{BFC457F6-FF95-4004-B141-14E05FBDD470}" srcOrd="2" destOrd="0" presId="urn:microsoft.com/office/officeart/2005/8/layout/lProcess2"/>
    <dgm:cxn modelId="{50C160E3-56F1-4F21-9E93-846A512EDFBD}" type="presParOf" srcId="{EF646CFA-9D0D-4B8A-900A-296C93D09BBE}" destId="{895A554F-D419-4137-A503-2F412B4ECD07}" srcOrd="3" destOrd="0" presId="urn:microsoft.com/office/officeart/2005/8/layout/lProcess2"/>
    <dgm:cxn modelId="{F568B458-E149-4914-8F28-306C31504F27}" type="presParOf" srcId="{EF646CFA-9D0D-4B8A-900A-296C93D09BBE}" destId="{7FBABDE0-A8F4-443F-A518-1C4B4E1141D3}" srcOrd="4" destOrd="0" presId="urn:microsoft.com/office/officeart/2005/8/layout/lProcess2"/>
    <dgm:cxn modelId="{B779659D-3DA1-4D55-A85F-5C55234E5DC9}" type="presParOf" srcId="{EF646CFA-9D0D-4B8A-900A-296C93D09BBE}" destId="{6B76AAF2-7C30-4515-AD6C-610CCF06B8CA}" srcOrd="5" destOrd="0" presId="urn:microsoft.com/office/officeart/2005/8/layout/lProcess2"/>
    <dgm:cxn modelId="{F600D6C0-D00A-48AF-9605-D53D85AFF1C3}" type="presParOf" srcId="{EF646CFA-9D0D-4B8A-900A-296C93D09BBE}" destId="{CB60BE14-296E-4077-ADF6-AE6AB117158D}" srcOrd="6" destOrd="0" presId="urn:microsoft.com/office/officeart/2005/8/layout/lProcess2"/>
    <dgm:cxn modelId="{386A19C4-A699-42D2-A6D6-4B181BBE81E6}" type="presParOf" srcId="{25C34C51-DD44-4CF7-9093-8E431A21B64C}" destId="{435ED84E-9F11-469F-AFFD-7AEF74B954E2}" srcOrd="3" destOrd="0" presId="urn:microsoft.com/office/officeart/2005/8/layout/lProcess2"/>
    <dgm:cxn modelId="{00AAD225-36BD-4538-8556-D8458D77D4F5}" type="presParOf" srcId="{25C34C51-DD44-4CF7-9093-8E431A21B64C}" destId="{BF461080-0B43-456B-BB35-CD839CBB07C7}" srcOrd="4" destOrd="0" presId="urn:microsoft.com/office/officeart/2005/8/layout/lProcess2"/>
    <dgm:cxn modelId="{1E91D8A5-7ECF-420E-AC15-4B043A9DD9AF}" type="presParOf" srcId="{BF461080-0B43-456B-BB35-CD839CBB07C7}" destId="{5B50CB7B-9099-49D3-ABC7-125DCA43CCD9}" srcOrd="0" destOrd="0" presId="urn:microsoft.com/office/officeart/2005/8/layout/lProcess2"/>
    <dgm:cxn modelId="{041F0BE2-9229-4560-9C4A-88C6DBC6E87C}" type="presParOf" srcId="{BF461080-0B43-456B-BB35-CD839CBB07C7}" destId="{F458E3B3-8840-443F-A49D-0A54B25C98B1}" srcOrd="1" destOrd="0" presId="urn:microsoft.com/office/officeart/2005/8/layout/lProcess2"/>
    <dgm:cxn modelId="{4A7A6B1B-631A-4E58-AE8D-0AE3A3C16591}" type="presParOf" srcId="{BF461080-0B43-456B-BB35-CD839CBB07C7}" destId="{72E0329F-54E8-4B50-B239-4C9E64591AD9}" srcOrd="2" destOrd="0" presId="urn:microsoft.com/office/officeart/2005/8/layout/lProcess2"/>
    <dgm:cxn modelId="{22486369-B3B9-4E26-A8DE-94E89B14C17C}" type="presParOf" srcId="{72E0329F-54E8-4B50-B239-4C9E64591AD9}" destId="{47CA0823-EB26-4EDA-8963-0AF2F4876C61}" srcOrd="0" destOrd="0" presId="urn:microsoft.com/office/officeart/2005/8/layout/lProcess2"/>
    <dgm:cxn modelId="{ED53748E-F8FC-47D4-AB66-1CC0EACBF9B0}" type="presParOf" srcId="{47CA0823-EB26-4EDA-8963-0AF2F4876C61}" destId="{249765C8-CC0F-4DDC-B32D-FF11D3CE524B}" srcOrd="0" destOrd="0" presId="urn:microsoft.com/office/officeart/2005/8/layout/lProcess2"/>
    <dgm:cxn modelId="{E07B717D-4A02-4312-8ED6-0D73A0EB2D39}" type="presParOf" srcId="{47CA0823-EB26-4EDA-8963-0AF2F4876C61}" destId="{ADEAAC8A-38FB-4D08-B43A-4B739207DFA6}" srcOrd="1" destOrd="0" presId="urn:microsoft.com/office/officeart/2005/8/layout/lProcess2"/>
    <dgm:cxn modelId="{5120A2E5-28B2-40D6-8C17-FFA523435911}" type="presParOf" srcId="{47CA0823-EB26-4EDA-8963-0AF2F4876C61}" destId="{F160AE3C-F036-402B-8D8F-2D8AB14DD91F}" srcOrd="2" destOrd="0" presId="urn:microsoft.com/office/officeart/2005/8/layout/lProcess2"/>
    <dgm:cxn modelId="{C67000EB-7701-44F0-8014-1EC26D61ABA5}" type="presParOf" srcId="{47CA0823-EB26-4EDA-8963-0AF2F4876C61}" destId="{6C1FD860-CAA3-4433-A58E-04549FD74802}" srcOrd="3" destOrd="0" presId="urn:microsoft.com/office/officeart/2005/8/layout/lProcess2"/>
    <dgm:cxn modelId="{2AB89AB9-A6E6-4170-9D8D-A0936A948C37}" type="presParOf" srcId="{47CA0823-EB26-4EDA-8963-0AF2F4876C61}" destId="{FAE56CCC-BDFB-4648-9D9F-FFB8983222B2}" srcOrd="4" destOrd="0" presId="urn:microsoft.com/office/officeart/2005/8/layout/lProcess2"/>
    <dgm:cxn modelId="{3689443E-412E-4489-B124-50EEFBD6D991}" type="presParOf" srcId="{25C34C51-DD44-4CF7-9093-8E431A21B64C}" destId="{14EA66DA-9563-471A-A3A3-6A2D8C3F1628}" srcOrd="5" destOrd="0" presId="urn:microsoft.com/office/officeart/2005/8/layout/lProcess2"/>
    <dgm:cxn modelId="{BEAD54A2-3C30-4ED7-A3F7-2E8515A73BB6}" type="presParOf" srcId="{25C34C51-DD44-4CF7-9093-8E431A21B64C}" destId="{B2301018-2F06-4F06-9E00-4EEF07BF2985}" srcOrd="6" destOrd="0" presId="urn:microsoft.com/office/officeart/2005/8/layout/lProcess2"/>
    <dgm:cxn modelId="{70282229-69A2-42EE-9967-1C7F2D49FBB5}" type="presParOf" srcId="{B2301018-2F06-4F06-9E00-4EEF07BF2985}" destId="{DA9E3B09-B218-424D-9A9E-6C0B281596BB}" srcOrd="0" destOrd="0" presId="urn:microsoft.com/office/officeart/2005/8/layout/lProcess2"/>
    <dgm:cxn modelId="{A15483D5-BA61-4D53-BC80-9CBB388B55D4}" type="presParOf" srcId="{B2301018-2F06-4F06-9E00-4EEF07BF2985}" destId="{68FFAE6F-B486-4243-A4E4-D6B83F3889E1}" srcOrd="1" destOrd="0" presId="urn:microsoft.com/office/officeart/2005/8/layout/lProcess2"/>
    <dgm:cxn modelId="{026F7C51-20EE-48E3-B4BC-589677C46632}" type="presParOf" srcId="{B2301018-2F06-4F06-9E00-4EEF07BF2985}" destId="{2EC5A395-4991-4ECC-8BB6-B01E2DA81DD9}" srcOrd="2" destOrd="0" presId="urn:microsoft.com/office/officeart/2005/8/layout/lProcess2"/>
    <dgm:cxn modelId="{6D904B83-FBF2-4EF6-B00E-5C019B788C64}" type="presParOf" srcId="{2EC5A395-4991-4ECC-8BB6-B01E2DA81DD9}" destId="{58BE74C3-ED77-45FE-8DB2-9CF623DCDF23}" srcOrd="0" destOrd="0" presId="urn:microsoft.com/office/officeart/2005/8/layout/lProcess2"/>
    <dgm:cxn modelId="{486D260E-7525-4C93-A353-850854DC10C2}" type="presParOf" srcId="{58BE74C3-ED77-45FE-8DB2-9CF623DCDF23}" destId="{C9EBDD62-4263-4E86-8EC6-823521B7196B}" srcOrd="0" destOrd="0" presId="urn:microsoft.com/office/officeart/2005/8/layout/lProcess2"/>
    <dgm:cxn modelId="{C96C3B54-ADCA-4C92-B3E9-48C4BFDE641D}" type="presParOf" srcId="{58BE74C3-ED77-45FE-8DB2-9CF623DCDF23}" destId="{7782AE4F-50FE-4304-9C04-C0C704D94709}" srcOrd="1" destOrd="0" presId="urn:microsoft.com/office/officeart/2005/8/layout/lProcess2"/>
    <dgm:cxn modelId="{02BCA74C-25E4-4B8D-A4D2-C5261486814E}" type="presParOf" srcId="{58BE74C3-ED77-45FE-8DB2-9CF623DCDF23}" destId="{C7E9CB72-BB50-4175-B9DF-EA831C3D0264}" srcOrd="2" destOrd="0" presId="urn:microsoft.com/office/officeart/2005/8/layout/lProcess2"/>
    <dgm:cxn modelId="{4BD8C926-B8AB-442C-87AA-18E15321E3FA}" type="presParOf" srcId="{58BE74C3-ED77-45FE-8DB2-9CF623DCDF23}" destId="{86738F22-C71A-4409-8A36-BEBBDB631985}" srcOrd="3" destOrd="0" presId="urn:microsoft.com/office/officeart/2005/8/layout/lProcess2"/>
    <dgm:cxn modelId="{6EFFB46E-9301-46D8-8E1C-5CCB050AD9C9}" type="presParOf" srcId="{58BE74C3-ED77-45FE-8DB2-9CF623DCDF23}" destId="{0891D493-71E1-4FEE-8709-DEB031B5BDD3}" srcOrd="4" destOrd="0" presId="urn:microsoft.com/office/officeart/2005/8/layout/lProcess2"/>
    <dgm:cxn modelId="{7DA908A0-9A77-4E27-A6CD-63273B240D4A}" type="presParOf" srcId="{58BE74C3-ED77-45FE-8DB2-9CF623DCDF23}" destId="{F1D18C21-E28F-4971-BA9B-79041D46075A}" srcOrd="5" destOrd="0" presId="urn:microsoft.com/office/officeart/2005/8/layout/lProcess2"/>
    <dgm:cxn modelId="{11FA3250-B05B-44A0-9AA0-322602F1CD45}" type="presParOf" srcId="{58BE74C3-ED77-45FE-8DB2-9CF623DCDF23}" destId="{C1F6081B-E04D-4213-B0A0-3E87B2D41791}" srcOrd="6" destOrd="0" presId="urn:microsoft.com/office/officeart/2005/8/layout/lProcess2"/>
    <dgm:cxn modelId="{DAF63D08-D03E-45C1-BE43-A16E20707B20}" type="presParOf" srcId="{58BE74C3-ED77-45FE-8DB2-9CF623DCDF23}" destId="{9E9C25A3-A9B2-4AB6-886A-795A6FBBB1B5}" srcOrd="7" destOrd="0" presId="urn:microsoft.com/office/officeart/2005/8/layout/lProcess2"/>
    <dgm:cxn modelId="{514DF95A-3376-44EF-944E-24C536144331}" type="presParOf" srcId="{58BE74C3-ED77-45FE-8DB2-9CF623DCDF23}" destId="{918A4BFB-BF2A-4402-B7DB-94DAFE48DF60}" srcOrd="8" destOrd="0" presId="urn:microsoft.com/office/officeart/2005/8/layout/lProcess2"/>
    <dgm:cxn modelId="{7D260A7B-D09C-4C37-84D2-427A0D2B2DD1}" type="presParOf" srcId="{58BE74C3-ED77-45FE-8DB2-9CF623DCDF23}" destId="{0D2FB1F5-FCED-486A-9555-AC3236102419}" srcOrd="9" destOrd="0" presId="urn:microsoft.com/office/officeart/2005/8/layout/lProcess2"/>
    <dgm:cxn modelId="{1C44C167-7254-4D83-BD64-2BF19AA27CE5}" type="presParOf" srcId="{58BE74C3-ED77-45FE-8DB2-9CF623DCDF23}" destId="{A8572CC3-A41A-4C0E-82DE-811FE01F0C2A}" srcOrd="10" destOrd="0" presId="urn:microsoft.com/office/officeart/2005/8/layout/lProcess2"/>
    <dgm:cxn modelId="{62DC1C11-4A0B-4E9E-8D3F-078692A70D93}" type="presParOf" srcId="{58BE74C3-ED77-45FE-8DB2-9CF623DCDF23}" destId="{DF4360D6-4E53-43AB-85A5-E06624CD949C}" srcOrd="11" destOrd="0" presId="urn:microsoft.com/office/officeart/2005/8/layout/lProcess2"/>
    <dgm:cxn modelId="{125271A6-37CD-455A-874B-0B4232A8DFB9}" type="presParOf" srcId="{58BE74C3-ED77-45FE-8DB2-9CF623DCDF23}" destId="{4034F00C-E5AD-4884-B486-2DDE31DFE39D}" srcOrd="12" destOrd="0" presId="urn:microsoft.com/office/officeart/2005/8/layout/lProcess2"/>
    <dgm:cxn modelId="{C1DC38AC-AFCB-4C9F-A5E7-EEF889E1CB62}" type="presParOf" srcId="{58BE74C3-ED77-45FE-8DB2-9CF623DCDF23}" destId="{61C48DDC-4EBB-4AD6-998E-1BAE49835D46}" srcOrd="13" destOrd="0" presId="urn:microsoft.com/office/officeart/2005/8/layout/lProcess2"/>
    <dgm:cxn modelId="{9C7F596D-D419-42C7-89D4-40F37A0F1E15}" type="presParOf" srcId="{58BE74C3-ED77-45FE-8DB2-9CF623DCDF23}" destId="{0EC030F3-6EB7-4AAC-B987-B09AE38FBB26}" srcOrd="14" destOrd="0" presId="urn:microsoft.com/office/officeart/2005/8/layout/lProcess2"/>
    <dgm:cxn modelId="{9F502172-0F02-440C-B023-DF6461F4BCC8}" type="presParOf" srcId="{25C34C51-DD44-4CF7-9093-8E431A21B64C}" destId="{FAD4CD09-E63E-4CEB-BCC6-BD662761AA43}" srcOrd="7" destOrd="0" presId="urn:microsoft.com/office/officeart/2005/8/layout/lProcess2"/>
    <dgm:cxn modelId="{952A2E55-220E-4914-B742-B502D44E439C}" type="presParOf" srcId="{25C34C51-DD44-4CF7-9093-8E431A21B64C}" destId="{FA0A4179-4377-49FC-B5D9-8DDF58EDB992}" srcOrd="8" destOrd="0" presId="urn:microsoft.com/office/officeart/2005/8/layout/lProcess2"/>
    <dgm:cxn modelId="{AFC2FB4A-7CAF-4244-A83A-2907F41D1776}" type="presParOf" srcId="{FA0A4179-4377-49FC-B5D9-8DDF58EDB992}" destId="{33902426-98D2-4C5F-B344-ECB12B30DF14}" srcOrd="0" destOrd="0" presId="urn:microsoft.com/office/officeart/2005/8/layout/lProcess2"/>
    <dgm:cxn modelId="{7F99FF04-68B1-4637-A1E2-DCE6EA38521B}" type="presParOf" srcId="{FA0A4179-4377-49FC-B5D9-8DDF58EDB992}" destId="{85080EB8-B3BC-4350-88A4-B327CA220135}" srcOrd="1" destOrd="0" presId="urn:microsoft.com/office/officeart/2005/8/layout/lProcess2"/>
    <dgm:cxn modelId="{8B81B76B-9E9C-4301-B8A7-1F14E5E10EEA}" type="presParOf" srcId="{FA0A4179-4377-49FC-B5D9-8DDF58EDB992}" destId="{F51EB130-51B4-4231-A4E7-6491FC7ED981}" srcOrd="2" destOrd="0" presId="urn:microsoft.com/office/officeart/2005/8/layout/lProcess2"/>
    <dgm:cxn modelId="{87C57568-582E-4429-BC9C-E35BB0A35D6E}" type="presParOf" srcId="{F51EB130-51B4-4231-A4E7-6491FC7ED981}" destId="{897C06CC-AC9A-4CB7-AF03-47D9C162254B}" srcOrd="0" destOrd="0" presId="urn:microsoft.com/office/officeart/2005/8/layout/lProcess2"/>
    <dgm:cxn modelId="{5CF7CFA3-A542-4FBC-A57D-19924BC0627F}" type="presParOf" srcId="{897C06CC-AC9A-4CB7-AF03-47D9C162254B}" destId="{A0DCFAD7-28D4-46EE-ACEA-4B2AF9D93A12}" srcOrd="0" destOrd="0" presId="urn:microsoft.com/office/officeart/2005/8/layout/lProcess2"/>
    <dgm:cxn modelId="{E64629B5-C1ED-406A-8240-8F5E75419034}" type="presParOf" srcId="{897C06CC-AC9A-4CB7-AF03-47D9C162254B}" destId="{55C39611-2128-46E8-83B5-673EF5235D2F}" srcOrd="1" destOrd="0" presId="urn:microsoft.com/office/officeart/2005/8/layout/lProcess2"/>
    <dgm:cxn modelId="{02C52674-53A6-4642-AB7E-11A2B23C1D97}" type="presParOf" srcId="{897C06CC-AC9A-4CB7-AF03-47D9C162254B}" destId="{CCC92EE9-D638-4053-81D4-180EADE935C5}" srcOrd="2" destOrd="0" presId="urn:microsoft.com/office/officeart/2005/8/layout/lProcess2"/>
    <dgm:cxn modelId="{F42C2430-90FC-4668-B96B-62EA5FD1F777}" type="presParOf" srcId="{897C06CC-AC9A-4CB7-AF03-47D9C162254B}" destId="{34AC0DD5-FD80-479E-BCF4-5721A85B9BE3}" srcOrd="3" destOrd="0" presId="urn:microsoft.com/office/officeart/2005/8/layout/lProcess2"/>
    <dgm:cxn modelId="{1FBCA9E8-65FD-434C-B657-17F84587D878}" type="presParOf" srcId="{897C06CC-AC9A-4CB7-AF03-47D9C162254B}" destId="{AF028914-7002-41E9-B5A6-D3D7DFC1B2F1}" srcOrd="4" destOrd="0" presId="urn:microsoft.com/office/officeart/2005/8/layout/lProcess2"/>
    <dgm:cxn modelId="{62E8A914-2D2A-4EF4-8839-E4800E703ABF}" type="presParOf" srcId="{897C06CC-AC9A-4CB7-AF03-47D9C162254B}" destId="{DBB5FC42-1A75-4BC3-ABAB-A3AD77EAF24C}" srcOrd="5" destOrd="0" presId="urn:microsoft.com/office/officeart/2005/8/layout/lProcess2"/>
    <dgm:cxn modelId="{D516B126-58B6-4035-BEEE-A20657B195C9}" type="presParOf" srcId="{897C06CC-AC9A-4CB7-AF03-47D9C162254B}" destId="{F9E85531-19BC-430C-B972-B0E064303B02}" srcOrd="6" destOrd="0" presId="urn:microsoft.com/office/officeart/2005/8/layout/lProcess2"/>
    <dgm:cxn modelId="{780AE592-DBD5-409E-8CF9-A6EC6FA0E371}" type="presParOf" srcId="{897C06CC-AC9A-4CB7-AF03-47D9C162254B}" destId="{B199D163-F254-49BE-90E7-51B0FA4A783E}" srcOrd="7" destOrd="0" presId="urn:microsoft.com/office/officeart/2005/8/layout/lProcess2"/>
    <dgm:cxn modelId="{A71257A1-54B8-410C-92AE-98F48201F56E}" type="presParOf" srcId="{897C06CC-AC9A-4CB7-AF03-47D9C162254B}" destId="{DCB21598-7BC3-44E1-826B-78B749F386EA}" srcOrd="8" destOrd="0" presId="urn:microsoft.com/office/officeart/2005/8/layout/lProcess2"/>
    <dgm:cxn modelId="{616C1406-B927-4254-B132-3E064D629A3F}" type="presParOf" srcId="{25C34C51-DD44-4CF7-9093-8E431A21B64C}" destId="{9F294824-929C-41BB-8152-CB09563DC2AA}" srcOrd="9" destOrd="0" presId="urn:microsoft.com/office/officeart/2005/8/layout/lProcess2"/>
    <dgm:cxn modelId="{9513FE1D-F3FB-4AAE-8FCD-955AADA9490A}" type="presParOf" srcId="{25C34C51-DD44-4CF7-9093-8E431A21B64C}" destId="{8DF518FE-2EFD-49DF-88B1-A9C3EE180425}" srcOrd="10" destOrd="0" presId="urn:microsoft.com/office/officeart/2005/8/layout/lProcess2"/>
    <dgm:cxn modelId="{F38541BC-85B6-4CA4-A92B-3DC05EB6AC46}" type="presParOf" srcId="{8DF518FE-2EFD-49DF-88B1-A9C3EE180425}" destId="{B63830DF-4979-4A38-A89A-2842F658E1CE}" srcOrd="0" destOrd="0" presId="urn:microsoft.com/office/officeart/2005/8/layout/lProcess2"/>
    <dgm:cxn modelId="{AB05D814-6F57-4078-B509-D727F7534538}" type="presParOf" srcId="{8DF518FE-2EFD-49DF-88B1-A9C3EE180425}" destId="{423722B7-09F1-4427-9EA6-C4A81DEFCEBF}" srcOrd="1" destOrd="0" presId="urn:microsoft.com/office/officeart/2005/8/layout/lProcess2"/>
    <dgm:cxn modelId="{D647792C-B36B-4D37-9FBD-12F0593F3E77}" type="presParOf" srcId="{8DF518FE-2EFD-49DF-88B1-A9C3EE180425}" destId="{4F98FD9B-421C-49C4-8C19-3BF529B9AD02}" srcOrd="2" destOrd="0" presId="urn:microsoft.com/office/officeart/2005/8/layout/lProcess2"/>
    <dgm:cxn modelId="{81DDEFAD-EEC5-49F9-AD4F-125A0F350ADE}" type="presParOf" srcId="{4F98FD9B-421C-49C4-8C19-3BF529B9AD02}" destId="{DFBDB38C-F662-4A0F-A3DB-0F3D8418439A}" srcOrd="0" destOrd="0" presId="urn:microsoft.com/office/officeart/2005/8/layout/lProcess2"/>
    <dgm:cxn modelId="{E85F7D80-E67F-44C3-9286-48B125F74F46}" type="presParOf" srcId="{DFBDB38C-F662-4A0F-A3DB-0F3D8418439A}" destId="{CBFDBA95-0BA1-4FCB-9BEF-8558B1179891}" srcOrd="0" destOrd="0" presId="urn:microsoft.com/office/officeart/2005/8/layout/lProcess2"/>
    <dgm:cxn modelId="{C83989F8-1B99-4ACB-B92A-D88E7B4174C2}" type="presParOf" srcId="{DFBDB38C-F662-4A0F-A3DB-0F3D8418439A}" destId="{076E33A8-81A5-4AB1-81AF-4473B40ABCEC}" srcOrd="1" destOrd="0" presId="urn:microsoft.com/office/officeart/2005/8/layout/lProcess2"/>
    <dgm:cxn modelId="{ACEF686D-C0BF-4CE0-9D79-8501DFA4FB9F}" type="presParOf" srcId="{DFBDB38C-F662-4A0F-A3DB-0F3D8418439A}" destId="{EBB93498-7FCC-44DC-BCCD-E4E5FAC2A640}"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6F85FF5-5AE2-4C03-A8F1-40D65008193B}" type="doc">
      <dgm:prSet loTypeId="urn:microsoft.com/office/officeart/2005/8/layout/pList2#1" loCatId="list" qsTypeId="urn:microsoft.com/office/officeart/2005/8/quickstyle/simple1" qsCatId="simple" csTypeId="urn:microsoft.com/office/officeart/2005/8/colors/accent6_2" csCatId="accent6" phldr="1"/>
      <dgm:spPr/>
      <dgm:t>
        <a:bodyPr/>
        <a:lstStyle/>
        <a:p>
          <a:endParaRPr lang="en-US"/>
        </a:p>
      </dgm:t>
    </dgm:pt>
    <dgm:pt modelId="{C48847BF-CDEB-4AD9-A315-DFA83A2D3F62}">
      <dgm:prSet custT="1"/>
      <dgm:spPr/>
      <dgm:t>
        <a:bodyPr/>
        <a:lstStyle/>
        <a:p>
          <a:pPr rtl="0"/>
          <a:r>
            <a:rPr lang="en-US" sz="1400" kern="1200" baseline="0" dirty="0">
              <a:solidFill>
                <a:schemeClr val="dk1"/>
              </a:solidFill>
              <a:latin typeface="+mn-lt"/>
              <a:ea typeface="+mn-ea"/>
              <a:cs typeface="+mn-cs"/>
            </a:rPr>
            <a:t>Is a system that manages the operational aspects of Asset Management lifecycle</a:t>
          </a:r>
        </a:p>
      </dgm:t>
    </dgm:pt>
    <dgm:pt modelId="{D03FC45B-C527-493B-930E-1FAF42C42EFA}" type="parTrans" cxnId="{CA77FC9D-1719-431B-A98C-5291FE4B6BD3}">
      <dgm:prSet/>
      <dgm:spPr/>
      <dgm:t>
        <a:bodyPr/>
        <a:lstStyle/>
        <a:p>
          <a:endParaRPr lang="en-US"/>
        </a:p>
      </dgm:t>
    </dgm:pt>
    <dgm:pt modelId="{854BA9C1-56C5-4977-A580-850E0D84DB95}" type="sibTrans" cxnId="{CA77FC9D-1719-431B-A98C-5291FE4B6BD3}">
      <dgm:prSet/>
      <dgm:spPr/>
      <dgm:t>
        <a:bodyPr/>
        <a:lstStyle/>
        <a:p>
          <a:endParaRPr lang="en-US"/>
        </a:p>
      </dgm:t>
    </dgm:pt>
    <dgm:pt modelId="{25C1024D-314B-46FE-847B-BDCC19E42078}">
      <dgm:prSet custT="1"/>
      <dgm:spPr/>
      <dgm:t>
        <a:bodyPr/>
        <a:lstStyle/>
        <a:p>
          <a:pPr rtl="0"/>
          <a:r>
            <a:rPr lang="en-US" sz="1400" kern="1200" baseline="0" dirty="0">
              <a:solidFill>
                <a:schemeClr val="dk1"/>
              </a:solidFill>
              <a:latin typeface="+mn-lt"/>
              <a:ea typeface="+mn-ea"/>
              <a:cs typeface="+mn-cs"/>
            </a:rPr>
            <a:t>Immovable Asset Management </a:t>
          </a:r>
        </a:p>
      </dgm:t>
    </dgm:pt>
    <dgm:pt modelId="{2C6ED3D7-7F42-4175-910E-05C7CF5989DD}" type="parTrans" cxnId="{7FFB730C-7B9B-46CF-84A7-8390DC7E4F93}">
      <dgm:prSet/>
      <dgm:spPr/>
      <dgm:t>
        <a:bodyPr/>
        <a:lstStyle/>
        <a:p>
          <a:endParaRPr lang="en-US"/>
        </a:p>
      </dgm:t>
    </dgm:pt>
    <dgm:pt modelId="{5C053B91-95CA-4145-83B0-2A6650269CF8}" type="sibTrans" cxnId="{7FFB730C-7B9B-46CF-84A7-8390DC7E4F93}">
      <dgm:prSet/>
      <dgm:spPr/>
      <dgm:t>
        <a:bodyPr/>
        <a:lstStyle/>
        <a:p>
          <a:endParaRPr lang="en-US"/>
        </a:p>
      </dgm:t>
    </dgm:pt>
    <dgm:pt modelId="{291FBD53-1318-4A59-819F-FAE9E77F4AF2}">
      <dgm:prSet custT="1"/>
      <dgm:spPr/>
      <dgm:t>
        <a:bodyPr/>
        <a:lstStyle/>
        <a:p>
          <a:pPr rtl="0"/>
          <a:r>
            <a:rPr lang="en-US" sz="1400" kern="1200" baseline="0" dirty="0">
              <a:solidFill>
                <a:schemeClr val="dk1"/>
              </a:solidFill>
              <a:latin typeface="+mn-lt"/>
              <a:ea typeface="+mn-ea"/>
              <a:cs typeface="+mn-cs"/>
            </a:rPr>
            <a:t>Provides the platform on which financial transactions take place</a:t>
          </a:r>
        </a:p>
        <a:p>
          <a:pPr rtl="0"/>
          <a:r>
            <a:rPr lang="en-US" sz="1400" kern="1200" baseline="0" dirty="0">
              <a:solidFill>
                <a:schemeClr val="dk1"/>
              </a:solidFill>
              <a:latin typeface="+mn-lt"/>
              <a:ea typeface="+mn-ea"/>
              <a:cs typeface="+mn-cs"/>
            </a:rPr>
            <a:t>Consists of</a:t>
          </a:r>
        </a:p>
      </dgm:t>
    </dgm:pt>
    <dgm:pt modelId="{225230E8-87BE-4DCA-A369-2E77EE9E56D7}" type="parTrans" cxnId="{1D2A002E-C856-48C7-AA82-5834DF25B267}">
      <dgm:prSet/>
      <dgm:spPr/>
      <dgm:t>
        <a:bodyPr/>
        <a:lstStyle/>
        <a:p>
          <a:endParaRPr lang="en-US"/>
        </a:p>
      </dgm:t>
    </dgm:pt>
    <dgm:pt modelId="{4144EFD9-505D-44C8-877A-0DC5ECE48D69}" type="sibTrans" cxnId="{1D2A002E-C856-48C7-AA82-5834DF25B267}">
      <dgm:prSet/>
      <dgm:spPr/>
      <dgm:t>
        <a:bodyPr/>
        <a:lstStyle/>
        <a:p>
          <a:endParaRPr lang="en-US"/>
        </a:p>
      </dgm:t>
    </dgm:pt>
    <dgm:pt modelId="{950B1F95-F7BE-4F2D-A564-9811D0DAB801}">
      <dgm:prSet custT="1"/>
      <dgm:spPr/>
      <dgm:t>
        <a:bodyPr/>
        <a:lstStyle/>
        <a:p>
          <a:pPr rtl="0"/>
          <a:r>
            <a:rPr lang="en-US" sz="1600" b="1" i="1" kern="1200" dirty="0"/>
            <a:t>Procurement</a:t>
          </a:r>
          <a:endParaRPr lang="en-US" sz="1600" b="1" kern="1200" dirty="0"/>
        </a:p>
      </dgm:t>
    </dgm:pt>
    <dgm:pt modelId="{216629B3-3BC3-4260-A5CB-3AF3FEEA4C19}" type="parTrans" cxnId="{AD8F8374-5660-4AA1-A0B9-4BB43D1FAC52}">
      <dgm:prSet/>
      <dgm:spPr/>
      <dgm:t>
        <a:bodyPr/>
        <a:lstStyle/>
        <a:p>
          <a:endParaRPr lang="en-US"/>
        </a:p>
      </dgm:t>
    </dgm:pt>
    <dgm:pt modelId="{3490D20E-7087-47DD-B65C-332E63909BA9}" type="sibTrans" cxnId="{AD8F8374-5660-4AA1-A0B9-4BB43D1FAC52}">
      <dgm:prSet/>
      <dgm:spPr/>
      <dgm:t>
        <a:bodyPr/>
        <a:lstStyle/>
        <a:p>
          <a:endParaRPr lang="en-US"/>
        </a:p>
      </dgm:t>
    </dgm:pt>
    <dgm:pt modelId="{7508579D-CA1B-4B70-BD41-68A503CA5617}">
      <dgm:prSet custT="1"/>
      <dgm:spPr/>
      <dgm:t>
        <a:bodyPr/>
        <a:lstStyle/>
        <a:p>
          <a:pPr rtl="0"/>
          <a:endParaRPr lang="en-US" sz="1600" b="1" kern="1200" dirty="0"/>
        </a:p>
      </dgm:t>
    </dgm:pt>
    <dgm:pt modelId="{02AF3489-5EFE-4206-902A-DB17E90A22DA}" type="parTrans" cxnId="{2AE343E0-0320-43C5-9901-56D8BD8B3639}">
      <dgm:prSet/>
      <dgm:spPr/>
      <dgm:t>
        <a:bodyPr/>
        <a:lstStyle/>
        <a:p>
          <a:endParaRPr lang="en-ZA"/>
        </a:p>
      </dgm:t>
    </dgm:pt>
    <dgm:pt modelId="{9D56E379-2021-48D2-A4B2-338B83AB6053}" type="sibTrans" cxnId="{2AE343E0-0320-43C5-9901-56D8BD8B3639}">
      <dgm:prSet/>
      <dgm:spPr/>
      <dgm:t>
        <a:bodyPr/>
        <a:lstStyle/>
        <a:p>
          <a:endParaRPr lang="en-ZA"/>
        </a:p>
      </dgm:t>
    </dgm:pt>
    <dgm:pt modelId="{11A9E661-22F7-4490-8188-47C49CA8BF82}">
      <dgm:prSet custT="1"/>
      <dgm:spPr/>
      <dgm:t>
        <a:bodyPr/>
        <a:lstStyle/>
        <a:p>
          <a:pPr rtl="0"/>
          <a:r>
            <a:rPr lang="en-US" sz="1400" kern="1200" baseline="0" dirty="0">
              <a:solidFill>
                <a:schemeClr val="dk1"/>
              </a:solidFill>
              <a:latin typeface="+mn-lt"/>
              <a:ea typeface="+mn-ea"/>
              <a:cs typeface="+mn-cs"/>
            </a:rPr>
            <a:t>Variable (property) payments</a:t>
          </a:r>
        </a:p>
      </dgm:t>
    </dgm:pt>
    <dgm:pt modelId="{A2FD5267-5AF8-41B4-B08D-ABD7F76DB56A}" type="parTrans" cxnId="{4CEC2FFB-FF6C-4072-BE67-F76D28D512DA}">
      <dgm:prSet/>
      <dgm:spPr/>
      <dgm:t>
        <a:bodyPr/>
        <a:lstStyle/>
        <a:p>
          <a:endParaRPr lang="en-ZA"/>
        </a:p>
      </dgm:t>
    </dgm:pt>
    <dgm:pt modelId="{77C0EA00-FBC4-41FD-9D7A-C08A71A8E0F1}" type="sibTrans" cxnId="{4CEC2FFB-FF6C-4072-BE67-F76D28D512DA}">
      <dgm:prSet/>
      <dgm:spPr/>
      <dgm:t>
        <a:bodyPr/>
        <a:lstStyle/>
        <a:p>
          <a:endParaRPr lang="en-ZA"/>
        </a:p>
      </dgm:t>
    </dgm:pt>
    <dgm:pt modelId="{4C21E686-A7B7-4CDD-85F6-4F521CD3C7D7}">
      <dgm:prSet custT="1"/>
      <dgm:spPr/>
      <dgm:t>
        <a:bodyPr/>
        <a:lstStyle/>
        <a:p>
          <a:pPr rtl="0"/>
          <a:endParaRPr lang="en-US" sz="1600" b="1" kern="1200" dirty="0"/>
        </a:p>
      </dgm:t>
    </dgm:pt>
    <dgm:pt modelId="{59CC1613-D76E-4D34-9D47-438C49BDDE51}" type="parTrans" cxnId="{7BC3C714-FB25-46DA-AA00-E205D2D6EF6A}">
      <dgm:prSet/>
      <dgm:spPr/>
      <dgm:t>
        <a:bodyPr/>
        <a:lstStyle/>
        <a:p>
          <a:endParaRPr lang="en-US"/>
        </a:p>
      </dgm:t>
    </dgm:pt>
    <dgm:pt modelId="{068253F4-740D-4B66-95D2-55EF0092D590}" type="sibTrans" cxnId="{7BC3C714-FB25-46DA-AA00-E205D2D6EF6A}">
      <dgm:prSet/>
      <dgm:spPr/>
      <dgm:t>
        <a:bodyPr/>
        <a:lstStyle/>
        <a:p>
          <a:endParaRPr lang="en-US"/>
        </a:p>
      </dgm:t>
    </dgm:pt>
    <dgm:pt modelId="{18386E1B-10A6-4AAB-A03C-09DFA96B90F1}">
      <dgm:prSet custT="1"/>
      <dgm:spPr/>
      <dgm:t>
        <a:bodyPr/>
        <a:lstStyle/>
        <a:p>
          <a:pPr rtl="0"/>
          <a:r>
            <a:rPr lang="en-US" sz="1400" kern="1200" baseline="0" dirty="0">
              <a:solidFill>
                <a:schemeClr val="dk1"/>
              </a:solidFill>
              <a:latin typeface="+mn-lt"/>
              <a:ea typeface="+mn-ea"/>
              <a:cs typeface="+mn-cs"/>
            </a:rPr>
            <a:t>Budgeting</a:t>
          </a:r>
        </a:p>
      </dgm:t>
    </dgm:pt>
    <dgm:pt modelId="{A2D2D5A9-CB23-4DB9-8965-78997324969C}" type="parTrans" cxnId="{9BE1E9D4-9F6B-4AD3-B0D7-63A52B68CAF6}">
      <dgm:prSet/>
      <dgm:spPr/>
      <dgm:t>
        <a:bodyPr/>
        <a:lstStyle/>
        <a:p>
          <a:endParaRPr lang="en-US"/>
        </a:p>
      </dgm:t>
    </dgm:pt>
    <dgm:pt modelId="{4E828250-0D90-41CE-9E67-0B14AA696874}" type="sibTrans" cxnId="{9BE1E9D4-9F6B-4AD3-B0D7-63A52B68CAF6}">
      <dgm:prSet/>
      <dgm:spPr/>
      <dgm:t>
        <a:bodyPr/>
        <a:lstStyle/>
        <a:p>
          <a:endParaRPr lang="en-US"/>
        </a:p>
      </dgm:t>
    </dgm:pt>
    <dgm:pt modelId="{0445082B-B522-4CBE-AC8B-144544D96031}">
      <dgm:prSet custT="1"/>
      <dgm:spPr/>
      <dgm:t>
        <a:bodyPr/>
        <a:lstStyle/>
        <a:p>
          <a:pPr rtl="0"/>
          <a:r>
            <a:rPr lang="en-US" sz="1400" kern="1200" baseline="0" dirty="0">
              <a:solidFill>
                <a:schemeClr val="dk1"/>
              </a:solidFill>
              <a:latin typeface="+mn-lt"/>
              <a:ea typeface="+mn-ea"/>
              <a:cs typeface="+mn-cs"/>
            </a:rPr>
            <a:t>Bank recon</a:t>
          </a:r>
        </a:p>
      </dgm:t>
    </dgm:pt>
    <dgm:pt modelId="{243D9EC5-EE6B-4C3C-8471-F89DF365D685}" type="parTrans" cxnId="{EC3696DB-C471-4FCD-B499-9A0092FDAD59}">
      <dgm:prSet/>
      <dgm:spPr/>
      <dgm:t>
        <a:bodyPr/>
        <a:lstStyle/>
        <a:p>
          <a:endParaRPr lang="en-US"/>
        </a:p>
      </dgm:t>
    </dgm:pt>
    <dgm:pt modelId="{A4E78048-8EAC-4864-9DC1-424A89852391}" type="sibTrans" cxnId="{EC3696DB-C471-4FCD-B499-9A0092FDAD59}">
      <dgm:prSet/>
      <dgm:spPr/>
      <dgm:t>
        <a:bodyPr/>
        <a:lstStyle/>
        <a:p>
          <a:endParaRPr lang="en-US"/>
        </a:p>
      </dgm:t>
    </dgm:pt>
    <dgm:pt modelId="{5779BDAE-2CA6-4030-AA32-95461073DD35}">
      <dgm:prSet custT="1"/>
      <dgm:spPr/>
      <dgm:t>
        <a:bodyPr/>
        <a:lstStyle/>
        <a:p>
          <a:pPr rtl="0"/>
          <a:r>
            <a:rPr lang="en-US" sz="1400" kern="1200" baseline="0" dirty="0">
              <a:solidFill>
                <a:schemeClr val="dk1"/>
              </a:solidFill>
              <a:latin typeface="+mn-lt"/>
              <a:ea typeface="+mn-ea"/>
              <a:cs typeface="+mn-cs"/>
            </a:rPr>
            <a:t>Procurement module</a:t>
          </a:r>
        </a:p>
      </dgm:t>
    </dgm:pt>
    <dgm:pt modelId="{EA03D9F4-18F5-4660-A8D1-D6A54D8D49F1}" type="parTrans" cxnId="{AAF1EB0A-47F1-49C6-B9B9-019242BB5D97}">
      <dgm:prSet/>
      <dgm:spPr/>
      <dgm:t>
        <a:bodyPr/>
        <a:lstStyle/>
        <a:p>
          <a:endParaRPr lang="en-US"/>
        </a:p>
      </dgm:t>
    </dgm:pt>
    <dgm:pt modelId="{7D2D83E5-0107-41C4-957A-338AFF125F69}" type="sibTrans" cxnId="{AAF1EB0A-47F1-49C6-B9B9-019242BB5D97}">
      <dgm:prSet/>
      <dgm:spPr/>
      <dgm:t>
        <a:bodyPr/>
        <a:lstStyle/>
        <a:p>
          <a:endParaRPr lang="en-US"/>
        </a:p>
      </dgm:t>
    </dgm:pt>
    <dgm:pt modelId="{3947DFD8-AE51-4499-B4FE-9AA838F9BE29}">
      <dgm:prSet custT="1"/>
      <dgm:spPr/>
      <dgm:t>
        <a:bodyPr/>
        <a:lstStyle/>
        <a:p>
          <a:pPr rtl="0"/>
          <a:r>
            <a:rPr lang="en-US" sz="1400" kern="1200" baseline="0" dirty="0">
              <a:solidFill>
                <a:schemeClr val="dk1"/>
              </a:solidFill>
              <a:latin typeface="+mn-lt"/>
              <a:ea typeface="+mn-ea"/>
              <a:cs typeface="+mn-cs"/>
            </a:rPr>
            <a:t>Accounts Receivable</a:t>
          </a:r>
        </a:p>
      </dgm:t>
    </dgm:pt>
    <dgm:pt modelId="{4CD61E5E-CDA8-443C-A918-1C5F46256807}" type="parTrans" cxnId="{30D12D4D-22E8-4B15-8D1A-BCDCCF093885}">
      <dgm:prSet/>
      <dgm:spPr/>
      <dgm:t>
        <a:bodyPr/>
        <a:lstStyle/>
        <a:p>
          <a:endParaRPr lang="en-US"/>
        </a:p>
      </dgm:t>
    </dgm:pt>
    <dgm:pt modelId="{A922FDA6-8A5D-4A75-A410-8D1D31395208}" type="sibTrans" cxnId="{30D12D4D-22E8-4B15-8D1A-BCDCCF093885}">
      <dgm:prSet/>
      <dgm:spPr/>
      <dgm:t>
        <a:bodyPr/>
        <a:lstStyle/>
        <a:p>
          <a:endParaRPr lang="en-US"/>
        </a:p>
      </dgm:t>
    </dgm:pt>
    <dgm:pt modelId="{5DD884FA-B898-4383-AD51-386A50E9C65F}">
      <dgm:prSet custT="1"/>
      <dgm:spPr/>
      <dgm:t>
        <a:bodyPr/>
        <a:lstStyle/>
        <a:p>
          <a:pPr rtl="0"/>
          <a:endParaRPr lang="en-US" sz="1600" b="1" kern="1200" dirty="0"/>
        </a:p>
      </dgm:t>
    </dgm:pt>
    <dgm:pt modelId="{D2704183-1BB5-4C88-8032-5C6D5906BB14}" type="parTrans" cxnId="{661CB799-7A00-4652-BA17-188A6FCBD3F3}">
      <dgm:prSet/>
      <dgm:spPr/>
      <dgm:t>
        <a:bodyPr/>
        <a:lstStyle/>
        <a:p>
          <a:endParaRPr lang="en-US"/>
        </a:p>
      </dgm:t>
    </dgm:pt>
    <dgm:pt modelId="{E486DCDA-2C55-4B14-9884-4976685AEA75}" type="sibTrans" cxnId="{661CB799-7A00-4652-BA17-188A6FCBD3F3}">
      <dgm:prSet/>
      <dgm:spPr/>
      <dgm:t>
        <a:bodyPr/>
        <a:lstStyle/>
        <a:p>
          <a:endParaRPr lang="en-US"/>
        </a:p>
      </dgm:t>
    </dgm:pt>
    <dgm:pt modelId="{D9C9C347-F9EE-4C54-96DE-E5AC3C96C7EC}">
      <dgm:prSet custT="1"/>
      <dgm:spPr/>
      <dgm:t>
        <a:bodyPr/>
        <a:lstStyle/>
        <a:p>
          <a:pPr rtl="0"/>
          <a:r>
            <a:rPr lang="en-US" sz="1400" kern="1200" baseline="0" dirty="0">
              <a:solidFill>
                <a:schemeClr val="dk1"/>
              </a:solidFill>
              <a:latin typeface="+mn-lt"/>
              <a:ea typeface="+mn-ea"/>
              <a:cs typeface="+mn-cs"/>
            </a:rPr>
            <a:t>Lease IN</a:t>
          </a:r>
        </a:p>
      </dgm:t>
    </dgm:pt>
    <dgm:pt modelId="{F7EDE748-AF3C-4EE4-A831-6308A69027BC}" type="parTrans" cxnId="{06EE1A04-7485-4F59-AAC3-3E79B76EC597}">
      <dgm:prSet/>
      <dgm:spPr/>
      <dgm:t>
        <a:bodyPr/>
        <a:lstStyle/>
        <a:p>
          <a:endParaRPr lang="en-US"/>
        </a:p>
      </dgm:t>
    </dgm:pt>
    <dgm:pt modelId="{F5418630-F36A-4273-810F-5BCF0E6D8A70}" type="sibTrans" cxnId="{06EE1A04-7485-4F59-AAC3-3E79B76EC597}">
      <dgm:prSet/>
      <dgm:spPr/>
      <dgm:t>
        <a:bodyPr/>
        <a:lstStyle/>
        <a:p>
          <a:endParaRPr lang="en-US"/>
        </a:p>
      </dgm:t>
    </dgm:pt>
    <dgm:pt modelId="{19288737-8B41-4B8F-9EF4-94B9A5801153}">
      <dgm:prSet custT="1"/>
      <dgm:spPr/>
      <dgm:t>
        <a:bodyPr/>
        <a:lstStyle/>
        <a:p>
          <a:pPr rtl="0"/>
          <a:r>
            <a:rPr lang="en-US" sz="1400" kern="1200" baseline="0" dirty="0">
              <a:solidFill>
                <a:schemeClr val="dk1"/>
              </a:solidFill>
              <a:latin typeface="+mn-lt"/>
              <a:ea typeface="+mn-ea"/>
              <a:cs typeface="+mn-cs"/>
            </a:rPr>
            <a:t>FM: Scheduled Maintenance</a:t>
          </a:r>
        </a:p>
      </dgm:t>
    </dgm:pt>
    <dgm:pt modelId="{1A7716A6-9118-4137-8098-5C6FA14FAA45}" type="parTrans" cxnId="{9CBC1BF3-1C4E-41CA-A057-CE454FDAA24D}">
      <dgm:prSet/>
      <dgm:spPr/>
      <dgm:t>
        <a:bodyPr/>
        <a:lstStyle/>
        <a:p>
          <a:endParaRPr lang="en-US"/>
        </a:p>
      </dgm:t>
    </dgm:pt>
    <dgm:pt modelId="{9C271F00-8537-4A2A-A9F6-FF6D45937163}" type="sibTrans" cxnId="{9CBC1BF3-1C4E-41CA-A057-CE454FDAA24D}">
      <dgm:prSet/>
      <dgm:spPr/>
      <dgm:t>
        <a:bodyPr/>
        <a:lstStyle/>
        <a:p>
          <a:endParaRPr lang="en-US"/>
        </a:p>
      </dgm:t>
    </dgm:pt>
    <dgm:pt modelId="{63937039-4D47-48C7-BE93-04F1153C6D0E}">
      <dgm:prSet custT="1"/>
      <dgm:spPr/>
      <dgm:t>
        <a:bodyPr/>
        <a:lstStyle/>
        <a:p>
          <a:pPr rtl="0"/>
          <a:r>
            <a:rPr lang="en-US" sz="1400" kern="1200" baseline="0" dirty="0">
              <a:solidFill>
                <a:schemeClr val="dk1"/>
              </a:solidFill>
              <a:latin typeface="+mn-lt"/>
              <a:ea typeface="+mn-ea"/>
              <a:cs typeface="+mn-cs"/>
            </a:rPr>
            <a:t>Condition Assessment </a:t>
          </a:r>
        </a:p>
      </dgm:t>
    </dgm:pt>
    <dgm:pt modelId="{372799DD-1FFF-46D1-A1CA-5090DAC0088B}" type="parTrans" cxnId="{405C7E47-A5A8-4688-9B4B-035A668BF5CA}">
      <dgm:prSet/>
      <dgm:spPr/>
      <dgm:t>
        <a:bodyPr/>
        <a:lstStyle/>
        <a:p>
          <a:endParaRPr lang="en-US"/>
        </a:p>
      </dgm:t>
    </dgm:pt>
    <dgm:pt modelId="{1AD22474-A657-472A-9F1D-060FF26F14D0}" type="sibTrans" cxnId="{405C7E47-A5A8-4688-9B4B-035A668BF5CA}">
      <dgm:prSet/>
      <dgm:spPr/>
      <dgm:t>
        <a:bodyPr/>
        <a:lstStyle/>
        <a:p>
          <a:endParaRPr lang="en-US"/>
        </a:p>
      </dgm:t>
    </dgm:pt>
    <dgm:pt modelId="{3A7D2087-42BF-45A5-B3AF-328BC2F50625}">
      <dgm:prSet custT="1"/>
      <dgm:spPr/>
      <dgm:t>
        <a:bodyPr/>
        <a:lstStyle/>
        <a:p>
          <a:pPr rtl="0"/>
          <a:r>
            <a:rPr lang="en-US" sz="1400" kern="1200" baseline="0" dirty="0">
              <a:solidFill>
                <a:schemeClr val="dk1"/>
              </a:solidFill>
              <a:latin typeface="+mn-lt"/>
              <a:ea typeface="+mn-ea"/>
              <a:cs typeface="+mn-cs"/>
            </a:rPr>
            <a:t>Project Management </a:t>
          </a:r>
        </a:p>
      </dgm:t>
    </dgm:pt>
    <dgm:pt modelId="{D7177BDF-CA02-4278-BFA5-EBD3125D9EDA}" type="parTrans" cxnId="{8303DFC1-4072-439E-86CF-030CBC83667F}">
      <dgm:prSet/>
      <dgm:spPr/>
      <dgm:t>
        <a:bodyPr/>
        <a:lstStyle/>
        <a:p>
          <a:endParaRPr lang="en-US"/>
        </a:p>
      </dgm:t>
    </dgm:pt>
    <dgm:pt modelId="{27DC5D6F-25EF-4486-9DA9-3FDA548FFC0A}" type="sibTrans" cxnId="{8303DFC1-4072-439E-86CF-030CBC83667F}">
      <dgm:prSet/>
      <dgm:spPr/>
      <dgm:t>
        <a:bodyPr/>
        <a:lstStyle/>
        <a:p>
          <a:endParaRPr lang="en-US"/>
        </a:p>
      </dgm:t>
    </dgm:pt>
    <dgm:pt modelId="{DADD4748-6EB9-43D1-9EA2-10D045975161}">
      <dgm:prSet custT="1"/>
      <dgm:spPr/>
      <dgm:t>
        <a:bodyPr/>
        <a:lstStyle/>
        <a:p>
          <a:pPr rtl="0"/>
          <a:r>
            <a:rPr lang="en-US" sz="1400" kern="1200" baseline="0" dirty="0">
              <a:solidFill>
                <a:schemeClr val="dk1"/>
              </a:solidFill>
              <a:latin typeface="+mn-lt"/>
              <a:ea typeface="+mn-ea"/>
              <a:cs typeface="+mn-cs"/>
            </a:rPr>
            <a:t>Movable Asset Management </a:t>
          </a:r>
        </a:p>
      </dgm:t>
    </dgm:pt>
    <dgm:pt modelId="{8E4FF62E-3950-4E21-884D-6778B3435C93}" type="parTrans" cxnId="{4EE9E1EC-42EB-4FB1-87DB-CDB4622BE71D}">
      <dgm:prSet/>
      <dgm:spPr/>
      <dgm:t>
        <a:bodyPr/>
        <a:lstStyle/>
        <a:p>
          <a:endParaRPr lang="en-US"/>
        </a:p>
      </dgm:t>
    </dgm:pt>
    <dgm:pt modelId="{2578A5F0-E137-4EC0-8FF3-0EE0F9EFC351}" type="sibTrans" cxnId="{4EE9E1EC-42EB-4FB1-87DB-CDB4622BE71D}">
      <dgm:prSet/>
      <dgm:spPr/>
      <dgm:t>
        <a:bodyPr/>
        <a:lstStyle/>
        <a:p>
          <a:endParaRPr lang="en-US"/>
        </a:p>
      </dgm:t>
    </dgm:pt>
    <dgm:pt modelId="{C166A481-6E9D-45CC-800C-2BB178D97868}">
      <dgm:prSet custT="1"/>
      <dgm:spPr/>
      <dgm:t>
        <a:bodyPr/>
        <a:lstStyle/>
        <a:p>
          <a:pPr rtl="0"/>
          <a:r>
            <a:rPr lang="en-US" sz="1400" kern="1200" baseline="0" dirty="0">
              <a:solidFill>
                <a:schemeClr val="dk1"/>
              </a:solidFill>
              <a:latin typeface="+mn-lt"/>
              <a:ea typeface="+mn-ea"/>
              <a:cs typeface="+mn-cs"/>
            </a:rPr>
            <a:t>Lease OUT</a:t>
          </a:r>
        </a:p>
      </dgm:t>
    </dgm:pt>
    <dgm:pt modelId="{06B3AA69-4AC4-458A-B66B-32A2B7BB8A2C}" type="parTrans" cxnId="{2EF84843-EBF3-4477-A682-95E28FE78AA9}">
      <dgm:prSet/>
      <dgm:spPr/>
      <dgm:t>
        <a:bodyPr/>
        <a:lstStyle/>
        <a:p>
          <a:endParaRPr lang="en-ZA"/>
        </a:p>
      </dgm:t>
    </dgm:pt>
    <dgm:pt modelId="{AAE15B09-B400-4A74-859B-0175ED432A92}" type="sibTrans" cxnId="{2EF84843-EBF3-4477-A682-95E28FE78AA9}">
      <dgm:prSet/>
      <dgm:spPr/>
      <dgm:t>
        <a:bodyPr/>
        <a:lstStyle/>
        <a:p>
          <a:endParaRPr lang="en-ZA"/>
        </a:p>
      </dgm:t>
    </dgm:pt>
    <dgm:pt modelId="{8F9B2C1B-25E0-42F2-A91E-90EC72B14CF3}">
      <dgm:prSet custT="1"/>
      <dgm:spPr/>
      <dgm:t>
        <a:bodyPr/>
        <a:lstStyle/>
        <a:p>
          <a:pPr rtl="0"/>
          <a:r>
            <a:rPr lang="en-US" sz="1400" kern="1200" baseline="0" dirty="0">
              <a:solidFill>
                <a:schemeClr val="dk1"/>
              </a:solidFill>
              <a:latin typeface="+mn-lt"/>
              <a:ea typeface="+mn-ea"/>
              <a:cs typeface="+mn-cs"/>
            </a:rPr>
            <a:t>FM: Unscheduled Maintenance</a:t>
          </a:r>
        </a:p>
      </dgm:t>
    </dgm:pt>
    <dgm:pt modelId="{04A2F4FE-71B5-414A-95F7-D21EB9851EF0}" type="parTrans" cxnId="{1B833683-DF4C-4E5C-BF08-D54DD5AA5EAA}">
      <dgm:prSet/>
      <dgm:spPr/>
      <dgm:t>
        <a:bodyPr/>
        <a:lstStyle/>
        <a:p>
          <a:endParaRPr lang="en-ZA"/>
        </a:p>
      </dgm:t>
    </dgm:pt>
    <dgm:pt modelId="{CA83FD91-351D-4ABA-8B1C-7CC7ECCD864C}" type="sibTrans" cxnId="{1B833683-DF4C-4E5C-BF08-D54DD5AA5EAA}">
      <dgm:prSet/>
      <dgm:spPr/>
      <dgm:t>
        <a:bodyPr/>
        <a:lstStyle/>
        <a:p>
          <a:endParaRPr lang="en-ZA"/>
        </a:p>
      </dgm:t>
    </dgm:pt>
    <dgm:pt modelId="{93F687E2-ADC4-44C3-9BF4-56CA794B6813}">
      <dgm:prSet custT="1"/>
      <dgm:spPr/>
      <dgm:t>
        <a:bodyPr/>
        <a:lstStyle/>
        <a:p>
          <a:pPr rtl="0"/>
          <a:r>
            <a:rPr lang="en-US" sz="1400" kern="1200" baseline="0" dirty="0">
              <a:solidFill>
                <a:schemeClr val="dk1"/>
              </a:solidFill>
              <a:latin typeface="+mn-lt"/>
              <a:ea typeface="+mn-ea"/>
              <a:cs typeface="+mn-cs"/>
            </a:rPr>
            <a:t>Accounts Payable</a:t>
          </a:r>
        </a:p>
      </dgm:t>
    </dgm:pt>
    <dgm:pt modelId="{D30324FA-499D-4E4E-B51A-1147A2F3677E}" type="parTrans" cxnId="{39A51C76-D452-4E4A-8D01-1E88F4115A3B}">
      <dgm:prSet/>
      <dgm:spPr/>
      <dgm:t>
        <a:bodyPr/>
        <a:lstStyle/>
        <a:p>
          <a:endParaRPr lang="en-ZA"/>
        </a:p>
      </dgm:t>
    </dgm:pt>
    <dgm:pt modelId="{0BEAEFFA-3072-4FD2-B4B2-69C7F0FC28DB}" type="sibTrans" cxnId="{39A51C76-D452-4E4A-8D01-1E88F4115A3B}">
      <dgm:prSet/>
      <dgm:spPr/>
      <dgm:t>
        <a:bodyPr/>
        <a:lstStyle/>
        <a:p>
          <a:endParaRPr lang="en-ZA"/>
        </a:p>
      </dgm:t>
    </dgm:pt>
    <dgm:pt modelId="{8A4CEB20-2737-4B85-B478-EBFEF9EC7738}" type="pres">
      <dgm:prSet presAssocID="{F6F85FF5-5AE2-4C03-A8F1-40D65008193B}" presName="Name0" presStyleCnt="0">
        <dgm:presLayoutVars>
          <dgm:dir/>
          <dgm:resizeHandles val="exact"/>
        </dgm:presLayoutVars>
      </dgm:prSet>
      <dgm:spPr/>
      <dgm:t>
        <a:bodyPr/>
        <a:lstStyle/>
        <a:p>
          <a:endParaRPr lang="en-ZA"/>
        </a:p>
      </dgm:t>
    </dgm:pt>
    <dgm:pt modelId="{D0859F91-412D-4656-AEAD-57BD7FF7A8A7}" type="pres">
      <dgm:prSet presAssocID="{F6F85FF5-5AE2-4C03-A8F1-40D65008193B}" presName="bkgdShp" presStyleLbl="alignAccFollowNode1" presStyleIdx="0" presStyleCnt="1"/>
      <dgm:spPr/>
    </dgm:pt>
    <dgm:pt modelId="{88C7824B-5ED5-42BF-9F2E-B7D0F917AAFE}" type="pres">
      <dgm:prSet presAssocID="{F6F85FF5-5AE2-4C03-A8F1-40D65008193B}" presName="linComp" presStyleCnt="0"/>
      <dgm:spPr/>
    </dgm:pt>
    <dgm:pt modelId="{EC4D5D47-1CAD-4650-B199-88C856B130D1}" type="pres">
      <dgm:prSet presAssocID="{C48847BF-CDEB-4AD9-A315-DFA83A2D3F62}" presName="compNode" presStyleCnt="0"/>
      <dgm:spPr/>
    </dgm:pt>
    <dgm:pt modelId="{D12AC191-2BA8-43BB-8932-AD9C7EB2C652}" type="pres">
      <dgm:prSet presAssocID="{C48847BF-CDEB-4AD9-A315-DFA83A2D3F62}" presName="node" presStyleLbl="node1" presStyleIdx="0" presStyleCnt="2" custScaleY="115981" custLinFactNeighborY="-8736">
        <dgm:presLayoutVars>
          <dgm:bulletEnabled val="1"/>
        </dgm:presLayoutVars>
      </dgm:prSet>
      <dgm:spPr/>
      <dgm:t>
        <a:bodyPr/>
        <a:lstStyle/>
        <a:p>
          <a:endParaRPr lang="en-ZA"/>
        </a:p>
      </dgm:t>
    </dgm:pt>
    <dgm:pt modelId="{AA16A4F7-51EA-4B53-92BA-3EE7FB987C2D}" type="pres">
      <dgm:prSet presAssocID="{C48847BF-CDEB-4AD9-A315-DFA83A2D3F62}" presName="invisiNode" presStyleLbl="node1" presStyleIdx="0" presStyleCnt="2"/>
      <dgm:spPr/>
    </dgm:pt>
    <dgm:pt modelId="{774F4987-3522-4BC4-8B07-65F835B3E5DD}" type="pres">
      <dgm:prSet presAssocID="{C48847BF-CDEB-4AD9-A315-DFA83A2D3F62}" presName="imagNode" presStyleLbl="fgImgPlace1" presStyleIdx="0" presStyleCnt="2"/>
      <dgm:spPr>
        <a:blipFill rotWithShape="1">
          <a:blip xmlns:r="http://schemas.openxmlformats.org/officeDocument/2006/relationships" r:embed="rId1"/>
          <a:stretch>
            <a:fillRect/>
          </a:stretch>
        </a:blipFill>
      </dgm:spPr>
    </dgm:pt>
    <dgm:pt modelId="{19CEE3CD-8C06-4B35-909B-762E3826D27D}" type="pres">
      <dgm:prSet presAssocID="{854BA9C1-56C5-4977-A580-850E0D84DB95}" presName="sibTrans" presStyleLbl="sibTrans2D1" presStyleIdx="0" presStyleCnt="0"/>
      <dgm:spPr/>
      <dgm:t>
        <a:bodyPr/>
        <a:lstStyle/>
        <a:p>
          <a:endParaRPr lang="en-ZA"/>
        </a:p>
      </dgm:t>
    </dgm:pt>
    <dgm:pt modelId="{950B2BA5-04CB-4CC9-A57E-945A4C5E5F52}" type="pres">
      <dgm:prSet presAssocID="{291FBD53-1318-4A59-819F-FAE9E77F4AF2}" presName="compNode" presStyleCnt="0"/>
      <dgm:spPr/>
    </dgm:pt>
    <dgm:pt modelId="{C3E6E390-3E53-4326-9D64-DD92B30B9C9D}" type="pres">
      <dgm:prSet presAssocID="{291FBD53-1318-4A59-819F-FAE9E77F4AF2}" presName="node" presStyleLbl="node1" presStyleIdx="1" presStyleCnt="2" custLinFactNeighborX="1380" custLinFactNeighborY="-13287">
        <dgm:presLayoutVars>
          <dgm:bulletEnabled val="1"/>
        </dgm:presLayoutVars>
      </dgm:prSet>
      <dgm:spPr/>
      <dgm:t>
        <a:bodyPr/>
        <a:lstStyle/>
        <a:p>
          <a:endParaRPr lang="en-ZA"/>
        </a:p>
      </dgm:t>
    </dgm:pt>
    <dgm:pt modelId="{01EB10F4-84A3-41EF-85B7-254283BDFA5E}" type="pres">
      <dgm:prSet presAssocID="{291FBD53-1318-4A59-819F-FAE9E77F4AF2}" presName="invisiNode" presStyleLbl="node1" presStyleIdx="1" presStyleCnt="2"/>
      <dgm:spPr/>
    </dgm:pt>
    <dgm:pt modelId="{45CC7BC0-E5DD-4381-8A1D-E6D31D2DE0C5}" type="pres">
      <dgm:prSet presAssocID="{291FBD53-1318-4A59-819F-FAE9E77F4AF2}" presName="imagNode" presStyleLbl="fgImgPlace1" presStyleIdx="1" presStyleCnt="2" custLinFactNeighborX="1639" custLinFactNeighborY="-4784"/>
      <dgm:spPr>
        <a:blipFill rotWithShape="1">
          <a:blip xmlns:r="http://schemas.openxmlformats.org/officeDocument/2006/relationships" r:embed="rId2"/>
          <a:stretch>
            <a:fillRect/>
          </a:stretch>
        </a:blipFill>
      </dgm:spPr>
    </dgm:pt>
  </dgm:ptLst>
  <dgm:cxnLst>
    <dgm:cxn modelId="{EC3696DB-C471-4FCD-B499-9A0092FDAD59}" srcId="{291FBD53-1318-4A59-819F-FAE9E77F4AF2}" destId="{0445082B-B522-4CBE-AC8B-144544D96031}" srcOrd="4" destOrd="0" parTransId="{243D9EC5-EE6B-4C3C-8471-F89DF365D685}" sibTransId="{A4E78048-8EAC-4864-9DC1-424A89852391}"/>
    <dgm:cxn modelId="{FE347F20-C84B-471C-8069-A706298FFBE7}" type="presOf" srcId="{0445082B-B522-4CBE-AC8B-144544D96031}" destId="{C3E6E390-3E53-4326-9D64-DD92B30B9C9D}" srcOrd="0" destOrd="5" presId="urn:microsoft.com/office/officeart/2005/8/layout/pList2#1"/>
    <dgm:cxn modelId="{4CEC2FFB-FF6C-4072-BE67-F76D28D512DA}" srcId="{291FBD53-1318-4A59-819F-FAE9E77F4AF2}" destId="{11A9E661-22F7-4490-8188-47C49CA8BF82}" srcOrd="0" destOrd="0" parTransId="{A2FD5267-5AF8-41B4-B08D-ABD7F76DB56A}" sibTransId="{77C0EA00-FBC4-41FD-9D7A-C08A71A8E0F1}"/>
    <dgm:cxn modelId="{041513AE-920A-4A5B-B9E9-AFD41BC7A176}" type="presOf" srcId="{3947DFD8-AE51-4499-B4FE-9AA838F9BE29}" destId="{C3E6E390-3E53-4326-9D64-DD92B30B9C9D}" srcOrd="0" destOrd="3" presId="urn:microsoft.com/office/officeart/2005/8/layout/pList2#1"/>
    <dgm:cxn modelId="{1D2A002E-C856-48C7-AA82-5834DF25B267}" srcId="{F6F85FF5-5AE2-4C03-A8F1-40D65008193B}" destId="{291FBD53-1318-4A59-819F-FAE9E77F4AF2}" srcOrd="1" destOrd="0" parTransId="{225230E8-87BE-4DCA-A369-2E77EE9E56D7}" sibTransId="{4144EFD9-505D-44C8-877A-0DC5ECE48D69}"/>
    <dgm:cxn modelId="{68866B32-C722-4F05-BB47-100396401206}" type="presOf" srcId="{18386E1B-10A6-4AAB-A03C-09DFA96B90F1}" destId="{C3E6E390-3E53-4326-9D64-DD92B30B9C9D}" srcOrd="0" destOrd="4" presId="urn:microsoft.com/office/officeart/2005/8/layout/pList2#1"/>
    <dgm:cxn modelId="{1B833683-DF4C-4E5C-BF08-D54DD5AA5EAA}" srcId="{C48847BF-CDEB-4AD9-A315-DFA83A2D3F62}" destId="{8F9B2C1B-25E0-42F2-A91E-90EC72B14CF3}" srcOrd="4" destOrd="0" parTransId="{04A2F4FE-71B5-414A-95F7-D21EB9851EF0}" sibTransId="{CA83FD91-351D-4ABA-8B1C-7CC7ECCD864C}"/>
    <dgm:cxn modelId="{4EE9E1EC-42EB-4FB1-87DB-CDB4622BE71D}" srcId="{C48847BF-CDEB-4AD9-A315-DFA83A2D3F62}" destId="{DADD4748-6EB9-43D1-9EA2-10D045975161}" srcOrd="1" destOrd="0" parTransId="{8E4FF62E-3950-4E21-884D-6778B3435C93}" sibTransId="{2578A5F0-E137-4EC0-8FF3-0EE0F9EFC351}"/>
    <dgm:cxn modelId="{9CBC1BF3-1C4E-41CA-A057-CE454FDAA24D}" srcId="{C48847BF-CDEB-4AD9-A315-DFA83A2D3F62}" destId="{19288737-8B41-4B8F-9EF4-94B9A5801153}" srcOrd="5" destOrd="0" parTransId="{1A7716A6-9118-4137-8098-5C6FA14FAA45}" sibTransId="{9C271F00-8537-4A2A-A9F6-FF6D45937163}"/>
    <dgm:cxn modelId="{D8E80776-049F-4458-95C7-22A10C1EDAFC}" type="presOf" srcId="{C48847BF-CDEB-4AD9-A315-DFA83A2D3F62}" destId="{D12AC191-2BA8-43BB-8932-AD9C7EB2C652}" srcOrd="0" destOrd="0" presId="urn:microsoft.com/office/officeart/2005/8/layout/pList2#1"/>
    <dgm:cxn modelId="{39A51C76-D452-4E4A-8D01-1E88F4115A3B}" srcId="{291FBD53-1318-4A59-819F-FAE9E77F4AF2}" destId="{93F687E2-ADC4-44C3-9BF4-56CA794B6813}" srcOrd="1" destOrd="0" parTransId="{D30324FA-499D-4E4E-B51A-1147A2F3677E}" sibTransId="{0BEAEFFA-3072-4FD2-B4B2-69C7F0FC28DB}"/>
    <dgm:cxn modelId="{7FFB730C-7B9B-46CF-84A7-8390DC7E4F93}" srcId="{C48847BF-CDEB-4AD9-A315-DFA83A2D3F62}" destId="{25C1024D-314B-46FE-847B-BDCC19E42078}" srcOrd="0" destOrd="0" parTransId="{2C6ED3D7-7F42-4175-910E-05C7CF5989DD}" sibTransId="{5C053B91-95CA-4145-83B0-2A6650269CF8}"/>
    <dgm:cxn modelId="{D6D9241E-9754-4FFF-B800-C4D244AD0313}" type="presOf" srcId="{4C21E686-A7B7-4CDD-85F6-4F521CD3C7D7}" destId="{C3E6E390-3E53-4326-9D64-DD92B30B9C9D}" srcOrd="0" destOrd="7" presId="urn:microsoft.com/office/officeart/2005/8/layout/pList2#1"/>
    <dgm:cxn modelId="{9BE1E9D4-9F6B-4AD3-B0D7-63A52B68CAF6}" srcId="{291FBD53-1318-4A59-819F-FAE9E77F4AF2}" destId="{18386E1B-10A6-4AAB-A03C-09DFA96B90F1}" srcOrd="3" destOrd="0" parTransId="{A2D2D5A9-CB23-4DB9-8965-78997324969C}" sibTransId="{4E828250-0D90-41CE-9E67-0B14AA696874}"/>
    <dgm:cxn modelId="{A8519DFA-A002-4660-9164-587090D8C96F}" type="presOf" srcId="{F6F85FF5-5AE2-4C03-A8F1-40D65008193B}" destId="{8A4CEB20-2737-4B85-B478-EBFEF9EC7738}" srcOrd="0" destOrd="0" presId="urn:microsoft.com/office/officeart/2005/8/layout/pList2#1"/>
    <dgm:cxn modelId="{82FEBEA4-620F-4C50-BB44-6E3CCA29F8DB}" type="presOf" srcId="{D9C9C347-F9EE-4C54-96DE-E5AC3C96C7EC}" destId="{D12AC191-2BA8-43BB-8932-AD9C7EB2C652}" srcOrd="0" destOrd="3" presId="urn:microsoft.com/office/officeart/2005/8/layout/pList2#1"/>
    <dgm:cxn modelId="{093D24FF-D476-42D9-B70B-A1A7D20741D5}" type="presOf" srcId="{854BA9C1-56C5-4977-A580-850E0D84DB95}" destId="{19CEE3CD-8C06-4B35-909B-762E3826D27D}" srcOrd="0" destOrd="0" presId="urn:microsoft.com/office/officeart/2005/8/layout/pList2#1"/>
    <dgm:cxn modelId="{AD8F8374-5660-4AA1-A0B9-4BB43D1FAC52}" srcId="{291FBD53-1318-4A59-819F-FAE9E77F4AF2}" destId="{950B1F95-F7BE-4F2D-A564-9811D0DAB801}" srcOrd="8" destOrd="0" parTransId="{216629B3-3BC3-4260-A5CB-3AF3FEEA4C19}" sibTransId="{3490D20E-7087-47DD-B65C-332E63909BA9}"/>
    <dgm:cxn modelId="{30D12D4D-22E8-4B15-8D1A-BCDCCF093885}" srcId="{291FBD53-1318-4A59-819F-FAE9E77F4AF2}" destId="{3947DFD8-AE51-4499-B4FE-9AA838F9BE29}" srcOrd="2" destOrd="0" parTransId="{4CD61E5E-CDA8-443C-A918-1C5F46256807}" sibTransId="{A922FDA6-8A5D-4A75-A410-8D1D31395208}"/>
    <dgm:cxn modelId="{7F73D159-2784-496A-B80E-FA988B5C9C58}" type="presOf" srcId="{7508579D-CA1B-4B70-BD41-68A503CA5617}" destId="{C3E6E390-3E53-4326-9D64-DD92B30B9C9D}" srcOrd="0" destOrd="8" presId="urn:microsoft.com/office/officeart/2005/8/layout/pList2#1"/>
    <dgm:cxn modelId="{405C7E47-A5A8-4688-9B4B-035A668BF5CA}" srcId="{C48847BF-CDEB-4AD9-A315-DFA83A2D3F62}" destId="{63937039-4D47-48C7-BE93-04F1153C6D0E}" srcOrd="6" destOrd="0" parTransId="{372799DD-1FFF-46D1-A1CA-5090DAC0088B}" sibTransId="{1AD22474-A657-472A-9F1D-060FF26F14D0}"/>
    <dgm:cxn modelId="{A19A38B4-87A2-42F4-AA8C-83859E87A1D0}" type="presOf" srcId="{950B1F95-F7BE-4F2D-A564-9811D0DAB801}" destId="{C3E6E390-3E53-4326-9D64-DD92B30B9C9D}" srcOrd="0" destOrd="9" presId="urn:microsoft.com/office/officeart/2005/8/layout/pList2#1"/>
    <dgm:cxn modelId="{661CB799-7A00-4652-BA17-188A6FCBD3F3}" srcId="{C48847BF-CDEB-4AD9-A315-DFA83A2D3F62}" destId="{5DD884FA-B898-4383-AD51-386A50E9C65F}" srcOrd="8" destOrd="0" parTransId="{D2704183-1BB5-4C88-8032-5C6D5906BB14}" sibTransId="{E486DCDA-2C55-4B14-9884-4976685AEA75}"/>
    <dgm:cxn modelId="{AAF1EB0A-47F1-49C6-B9B9-019242BB5D97}" srcId="{291FBD53-1318-4A59-819F-FAE9E77F4AF2}" destId="{5779BDAE-2CA6-4030-AA32-95461073DD35}" srcOrd="5" destOrd="0" parTransId="{EA03D9F4-18F5-4660-A8D1-D6A54D8D49F1}" sibTransId="{7D2D83E5-0107-41C4-957A-338AFF125F69}"/>
    <dgm:cxn modelId="{7BC3C714-FB25-46DA-AA00-E205D2D6EF6A}" srcId="{291FBD53-1318-4A59-819F-FAE9E77F4AF2}" destId="{4C21E686-A7B7-4CDD-85F6-4F521CD3C7D7}" srcOrd="6" destOrd="0" parTransId="{59CC1613-D76E-4D34-9D47-438C49BDDE51}" sibTransId="{068253F4-740D-4B66-95D2-55EF0092D590}"/>
    <dgm:cxn modelId="{D9B8A834-2ABC-4E83-B233-5EFAEC8D79F0}" type="presOf" srcId="{5779BDAE-2CA6-4030-AA32-95461073DD35}" destId="{C3E6E390-3E53-4326-9D64-DD92B30B9C9D}" srcOrd="0" destOrd="6" presId="urn:microsoft.com/office/officeart/2005/8/layout/pList2#1"/>
    <dgm:cxn modelId="{22FB57B0-1F47-45C7-B877-2D00C28E6277}" type="presOf" srcId="{63937039-4D47-48C7-BE93-04F1153C6D0E}" destId="{D12AC191-2BA8-43BB-8932-AD9C7EB2C652}" srcOrd="0" destOrd="7" presId="urn:microsoft.com/office/officeart/2005/8/layout/pList2#1"/>
    <dgm:cxn modelId="{2EF84843-EBF3-4477-A682-95E28FE78AA9}" srcId="{C48847BF-CDEB-4AD9-A315-DFA83A2D3F62}" destId="{C166A481-6E9D-45CC-800C-2BB178D97868}" srcOrd="3" destOrd="0" parTransId="{06B3AA69-4AC4-458A-B66B-32A2B7BB8A2C}" sibTransId="{AAE15B09-B400-4A74-859B-0175ED432A92}"/>
    <dgm:cxn modelId="{2AE343E0-0320-43C5-9901-56D8BD8B3639}" srcId="{291FBD53-1318-4A59-819F-FAE9E77F4AF2}" destId="{7508579D-CA1B-4B70-BD41-68A503CA5617}" srcOrd="7" destOrd="0" parTransId="{02AF3489-5EFE-4206-902A-DB17E90A22DA}" sibTransId="{9D56E379-2021-48D2-A4B2-338B83AB6053}"/>
    <dgm:cxn modelId="{C072F0BD-DCC4-48D8-B340-091B969BC749}" type="presOf" srcId="{5DD884FA-B898-4383-AD51-386A50E9C65F}" destId="{D12AC191-2BA8-43BB-8932-AD9C7EB2C652}" srcOrd="0" destOrd="9" presId="urn:microsoft.com/office/officeart/2005/8/layout/pList2#1"/>
    <dgm:cxn modelId="{A862C780-FB76-4289-9B65-6EFED09EBB8E}" type="presOf" srcId="{DADD4748-6EB9-43D1-9EA2-10D045975161}" destId="{D12AC191-2BA8-43BB-8932-AD9C7EB2C652}" srcOrd="0" destOrd="2" presId="urn:microsoft.com/office/officeart/2005/8/layout/pList2#1"/>
    <dgm:cxn modelId="{2BE604AE-463B-491A-A5EC-693F4A0F25F5}" type="presOf" srcId="{C166A481-6E9D-45CC-800C-2BB178D97868}" destId="{D12AC191-2BA8-43BB-8932-AD9C7EB2C652}" srcOrd="0" destOrd="4" presId="urn:microsoft.com/office/officeart/2005/8/layout/pList2#1"/>
    <dgm:cxn modelId="{D12C9DDA-08D5-4077-B4E8-3545CE8FF421}" type="presOf" srcId="{3A7D2087-42BF-45A5-B3AF-328BC2F50625}" destId="{D12AC191-2BA8-43BB-8932-AD9C7EB2C652}" srcOrd="0" destOrd="8" presId="urn:microsoft.com/office/officeart/2005/8/layout/pList2#1"/>
    <dgm:cxn modelId="{06EE1A04-7485-4F59-AAC3-3E79B76EC597}" srcId="{C48847BF-CDEB-4AD9-A315-DFA83A2D3F62}" destId="{D9C9C347-F9EE-4C54-96DE-E5AC3C96C7EC}" srcOrd="2" destOrd="0" parTransId="{F7EDE748-AF3C-4EE4-A831-6308A69027BC}" sibTransId="{F5418630-F36A-4273-810F-5BCF0E6D8A70}"/>
    <dgm:cxn modelId="{CAD2B3B0-2642-4E19-876C-1E7C59610BB6}" type="presOf" srcId="{11A9E661-22F7-4490-8188-47C49CA8BF82}" destId="{C3E6E390-3E53-4326-9D64-DD92B30B9C9D}" srcOrd="0" destOrd="1" presId="urn:microsoft.com/office/officeart/2005/8/layout/pList2#1"/>
    <dgm:cxn modelId="{C3A0A301-561B-4C16-997F-CC6C6F8A69CC}" type="presOf" srcId="{25C1024D-314B-46FE-847B-BDCC19E42078}" destId="{D12AC191-2BA8-43BB-8932-AD9C7EB2C652}" srcOrd="0" destOrd="1" presId="urn:microsoft.com/office/officeart/2005/8/layout/pList2#1"/>
    <dgm:cxn modelId="{69BB9C78-F802-4A7B-8E34-AE19D86CEEC5}" type="presOf" srcId="{8F9B2C1B-25E0-42F2-A91E-90EC72B14CF3}" destId="{D12AC191-2BA8-43BB-8932-AD9C7EB2C652}" srcOrd="0" destOrd="5" presId="urn:microsoft.com/office/officeart/2005/8/layout/pList2#1"/>
    <dgm:cxn modelId="{62B1C970-B7F5-4311-9111-7E409DB6A1E9}" type="presOf" srcId="{291FBD53-1318-4A59-819F-FAE9E77F4AF2}" destId="{C3E6E390-3E53-4326-9D64-DD92B30B9C9D}" srcOrd="0" destOrd="0" presId="urn:microsoft.com/office/officeart/2005/8/layout/pList2#1"/>
    <dgm:cxn modelId="{CA77FC9D-1719-431B-A98C-5291FE4B6BD3}" srcId="{F6F85FF5-5AE2-4C03-A8F1-40D65008193B}" destId="{C48847BF-CDEB-4AD9-A315-DFA83A2D3F62}" srcOrd="0" destOrd="0" parTransId="{D03FC45B-C527-493B-930E-1FAF42C42EFA}" sibTransId="{854BA9C1-56C5-4977-A580-850E0D84DB95}"/>
    <dgm:cxn modelId="{8303DFC1-4072-439E-86CF-030CBC83667F}" srcId="{C48847BF-CDEB-4AD9-A315-DFA83A2D3F62}" destId="{3A7D2087-42BF-45A5-B3AF-328BC2F50625}" srcOrd="7" destOrd="0" parTransId="{D7177BDF-CA02-4278-BFA5-EBD3125D9EDA}" sibTransId="{27DC5D6F-25EF-4486-9DA9-3FDA548FFC0A}"/>
    <dgm:cxn modelId="{C401E04F-A50B-436E-9138-AC499CDB02C0}" type="presOf" srcId="{93F687E2-ADC4-44C3-9BF4-56CA794B6813}" destId="{C3E6E390-3E53-4326-9D64-DD92B30B9C9D}" srcOrd="0" destOrd="2" presId="urn:microsoft.com/office/officeart/2005/8/layout/pList2#1"/>
    <dgm:cxn modelId="{993AF099-9C44-434C-A6E4-0072C1BAE694}" type="presOf" srcId="{19288737-8B41-4B8F-9EF4-94B9A5801153}" destId="{D12AC191-2BA8-43BB-8932-AD9C7EB2C652}" srcOrd="0" destOrd="6" presId="urn:microsoft.com/office/officeart/2005/8/layout/pList2#1"/>
    <dgm:cxn modelId="{443A5C46-00F0-4AF2-A84D-622E5196B4BF}" type="presParOf" srcId="{8A4CEB20-2737-4B85-B478-EBFEF9EC7738}" destId="{D0859F91-412D-4656-AEAD-57BD7FF7A8A7}" srcOrd="0" destOrd="0" presId="urn:microsoft.com/office/officeart/2005/8/layout/pList2#1"/>
    <dgm:cxn modelId="{A3FE9975-DA67-4F15-8E99-7F26FE986BE8}" type="presParOf" srcId="{8A4CEB20-2737-4B85-B478-EBFEF9EC7738}" destId="{88C7824B-5ED5-42BF-9F2E-B7D0F917AAFE}" srcOrd="1" destOrd="0" presId="urn:microsoft.com/office/officeart/2005/8/layout/pList2#1"/>
    <dgm:cxn modelId="{A73B3F62-6FAA-48D3-95EC-4AFFE866C24E}" type="presParOf" srcId="{88C7824B-5ED5-42BF-9F2E-B7D0F917AAFE}" destId="{EC4D5D47-1CAD-4650-B199-88C856B130D1}" srcOrd="0" destOrd="0" presId="urn:microsoft.com/office/officeart/2005/8/layout/pList2#1"/>
    <dgm:cxn modelId="{A354506C-12D9-4BA2-9670-636FB574A58A}" type="presParOf" srcId="{EC4D5D47-1CAD-4650-B199-88C856B130D1}" destId="{D12AC191-2BA8-43BB-8932-AD9C7EB2C652}" srcOrd="0" destOrd="0" presId="urn:microsoft.com/office/officeart/2005/8/layout/pList2#1"/>
    <dgm:cxn modelId="{A77B1B3F-C1FD-48EC-BAEC-693931CDAC68}" type="presParOf" srcId="{EC4D5D47-1CAD-4650-B199-88C856B130D1}" destId="{AA16A4F7-51EA-4B53-92BA-3EE7FB987C2D}" srcOrd="1" destOrd="0" presId="urn:microsoft.com/office/officeart/2005/8/layout/pList2#1"/>
    <dgm:cxn modelId="{F65EADB3-B787-42CD-8676-A0DB8A8D9553}" type="presParOf" srcId="{EC4D5D47-1CAD-4650-B199-88C856B130D1}" destId="{774F4987-3522-4BC4-8B07-65F835B3E5DD}" srcOrd="2" destOrd="0" presId="urn:microsoft.com/office/officeart/2005/8/layout/pList2#1"/>
    <dgm:cxn modelId="{5250C24D-804B-484D-B280-B15287721152}" type="presParOf" srcId="{88C7824B-5ED5-42BF-9F2E-B7D0F917AAFE}" destId="{19CEE3CD-8C06-4B35-909B-762E3826D27D}" srcOrd="1" destOrd="0" presId="urn:microsoft.com/office/officeart/2005/8/layout/pList2#1"/>
    <dgm:cxn modelId="{AF5F1AC0-6A71-4330-889B-006F93AB62CB}" type="presParOf" srcId="{88C7824B-5ED5-42BF-9F2E-B7D0F917AAFE}" destId="{950B2BA5-04CB-4CC9-A57E-945A4C5E5F52}" srcOrd="2" destOrd="0" presId="urn:microsoft.com/office/officeart/2005/8/layout/pList2#1"/>
    <dgm:cxn modelId="{33165A17-741D-45D1-BA90-D19E9C38184D}" type="presParOf" srcId="{950B2BA5-04CB-4CC9-A57E-945A4C5E5F52}" destId="{C3E6E390-3E53-4326-9D64-DD92B30B9C9D}" srcOrd="0" destOrd="0" presId="urn:microsoft.com/office/officeart/2005/8/layout/pList2#1"/>
    <dgm:cxn modelId="{549A3DF1-8696-4C2A-94BE-0F39F896399F}" type="presParOf" srcId="{950B2BA5-04CB-4CC9-A57E-945A4C5E5F52}" destId="{01EB10F4-84A3-41EF-85B7-254283BDFA5E}" srcOrd="1" destOrd="0" presId="urn:microsoft.com/office/officeart/2005/8/layout/pList2#1"/>
    <dgm:cxn modelId="{9931CD15-FBF9-43E5-9D91-806D0EBD5E2C}" type="presParOf" srcId="{950B2BA5-04CB-4CC9-A57E-945A4C5E5F52}" destId="{45CC7BC0-E5DD-4381-8A1D-E6D31D2DE0C5}" srcOrd="2" destOrd="0" presId="urn:microsoft.com/office/officeart/2005/8/layout/pList2#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3F30878-DADD-A043-93AF-7CDA69F6516E}" type="doc">
      <dgm:prSet loTypeId="urn:microsoft.com/office/officeart/2005/8/layout/lProcess2" loCatId="" qsTypeId="urn:microsoft.com/office/officeart/2005/8/quickstyle/simple1" qsCatId="simple" csTypeId="urn:microsoft.com/office/officeart/2005/8/colors/accent6_1" csCatId="accent6" phldr="1"/>
      <dgm:spPr/>
      <dgm:t>
        <a:bodyPr/>
        <a:lstStyle/>
        <a:p>
          <a:endParaRPr lang="en-US"/>
        </a:p>
      </dgm:t>
    </dgm:pt>
    <dgm:pt modelId="{F6FC6DA0-B75D-2A44-A904-B76F8BB751A9}">
      <dgm:prSet phldrT="[Text]" custT="1"/>
      <dgm:spPr>
        <a:solidFill>
          <a:schemeClr val="bg1"/>
        </a:solidFill>
        <a:ln>
          <a:solidFill>
            <a:schemeClr val="accent1"/>
          </a:solidFill>
        </a:ln>
      </dgm:spPr>
      <dgm:t>
        <a:bodyPr/>
        <a:lstStyle/>
        <a:p>
          <a:r>
            <a:rPr lang="en-ZA" sz="1200" b="1" dirty="0">
              <a:solidFill>
                <a:schemeClr val="tx1"/>
              </a:solidFill>
              <a:latin typeface="Arial Rounded MT Bold" panose="020F0704030504030204" pitchFamily="34" charset="77"/>
            </a:rPr>
            <a:t>Planning (DPW Family</a:t>
          </a:r>
          <a:r>
            <a:rPr lang="en-ZA" sz="1400" b="1" dirty="0">
              <a:solidFill>
                <a:schemeClr val="tx1"/>
              </a:solidFill>
              <a:latin typeface="Arial Rounded MT Bold" panose="020F0704030504030204" pitchFamily="34" charset="77"/>
            </a:rPr>
            <a:t>)</a:t>
          </a:r>
          <a:endParaRPr lang="en-US" sz="1400" b="1" dirty="0">
            <a:solidFill>
              <a:schemeClr val="tx1"/>
            </a:solidFill>
            <a:latin typeface="Arial Rounded MT Bold" panose="020F0704030504030204" pitchFamily="34" charset="77"/>
          </a:endParaRPr>
        </a:p>
      </dgm:t>
    </dgm:pt>
    <dgm:pt modelId="{BD5C2E60-C462-B949-B49E-00A7991CDD40}" type="parTrans" cxnId="{AAF68079-01A9-4749-9511-E8C577BAF8DF}">
      <dgm:prSet/>
      <dgm:spPr/>
      <dgm:t>
        <a:bodyPr/>
        <a:lstStyle/>
        <a:p>
          <a:endParaRPr lang="en-US" sz="2000"/>
        </a:p>
      </dgm:t>
    </dgm:pt>
    <dgm:pt modelId="{D0A845CB-3F15-9D4F-B105-86929A8CD943}" type="sibTrans" cxnId="{AAF68079-01A9-4749-9511-E8C577BAF8DF}">
      <dgm:prSet/>
      <dgm:spPr/>
      <dgm:t>
        <a:bodyPr/>
        <a:lstStyle/>
        <a:p>
          <a:endParaRPr lang="en-US" sz="2000"/>
        </a:p>
      </dgm:t>
    </dgm:pt>
    <dgm:pt modelId="{655332C2-973D-9949-9D0F-F2A3198EAA6A}">
      <dgm:prSet phldrT="[Text]" custT="1"/>
      <dgm:spPr>
        <a:solidFill>
          <a:schemeClr val="bg1"/>
        </a:solidFill>
        <a:ln>
          <a:solidFill>
            <a:schemeClr val="accent1"/>
          </a:solidFill>
          <a:prstDash val="dash"/>
        </a:ln>
      </dgm:spPr>
      <dgm:t>
        <a:bodyPr/>
        <a:lstStyle/>
        <a:p>
          <a:r>
            <a:rPr lang="en-ZA" sz="1200" b="1" dirty="0">
              <a:latin typeface="Arial Rounded MT Bold" panose="020F0704030504030204" pitchFamily="34" charset="77"/>
            </a:rPr>
            <a:t>Acquisition &amp; Disposal</a:t>
          </a:r>
          <a:endParaRPr lang="en-US" sz="1200" b="1" dirty="0">
            <a:latin typeface="Arial Rounded MT Bold" panose="020F0704030504030204" pitchFamily="34" charset="77"/>
          </a:endParaRPr>
        </a:p>
      </dgm:t>
    </dgm:pt>
    <dgm:pt modelId="{96DFA70B-28F3-3B48-8E34-17FF16BEAEFB}" type="parTrans" cxnId="{752DC65C-003B-3040-847B-484D431E28E6}">
      <dgm:prSet/>
      <dgm:spPr/>
      <dgm:t>
        <a:bodyPr/>
        <a:lstStyle/>
        <a:p>
          <a:endParaRPr lang="en-US" sz="2000"/>
        </a:p>
      </dgm:t>
    </dgm:pt>
    <dgm:pt modelId="{18676574-0A79-E646-BEBB-55177B21E967}" type="sibTrans" cxnId="{752DC65C-003B-3040-847B-484D431E28E6}">
      <dgm:prSet/>
      <dgm:spPr/>
      <dgm:t>
        <a:bodyPr/>
        <a:lstStyle/>
        <a:p>
          <a:endParaRPr lang="en-US" sz="2000"/>
        </a:p>
      </dgm:t>
    </dgm:pt>
    <dgm:pt modelId="{925F08FB-13DB-6E45-BF00-BAEA61191BA4}">
      <dgm:prSet phldrT="[Text]" custT="1"/>
      <dgm:spPr>
        <a:solidFill>
          <a:schemeClr val="bg1"/>
        </a:solidFill>
        <a:ln>
          <a:solidFill>
            <a:schemeClr val="accent1"/>
          </a:solidFill>
          <a:prstDash val="dash"/>
        </a:ln>
      </dgm:spPr>
      <dgm:t>
        <a:bodyPr/>
        <a:lstStyle/>
        <a:p>
          <a:r>
            <a:rPr lang="en-ZA" sz="1200" b="1" dirty="0">
              <a:latin typeface="Arial Rounded MT Bold" panose="020F0704030504030204" pitchFamily="34" charset="77"/>
            </a:rPr>
            <a:t>Capital Projects &amp; Budgeting</a:t>
          </a:r>
          <a:endParaRPr lang="en-US" sz="1200" b="1" dirty="0">
            <a:latin typeface="Arial Rounded MT Bold" panose="020F0704030504030204" pitchFamily="34" charset="77"/>
          </a:endParaRPr>
        </a:p>
      </dgm:t>
    </dgm:pt>
    <dgm:pt modelId="{F74D7F8B-71E2-DF42-BCEC-E234BE7C8A50}" type="parTrans" cxnId="{D0F26C83-9925-E745-A751-43829E41EE68}">
      <dgm:prSet/>
      <dgm:spPr/>
      <dgm:t>
        <a:bodyPr/>
        <a:lstStyle/>
        <a:p>
          <a:endParaRPr lang="en-US" sz="2000"/>
        </a:p>
      </dgm:t>
    </dgm:pt>
    <dgm:pt modelId="{6F591A81-8033-CE46-9B73-6CE3BB83B13E}" type="sibTrans" cxnId="{D0F26C83-9925-E745-A751-43829E41EE68}">
      <dgm:prSet/>
      <dgm:spPr/>
      <dgm:t>
        <a:bodyPr/>
        <a:lstStyle/>
        <a:p>
          <a:endParaRPr lang="en-US" sz="2000"/>
        </a:p>
      </dgm:t>
    </dgm:pt>
    <dgm:pt modelId="{F407936D-75D2-8A46-946D-564730CF309F}">
      <dgm:prSet phldrT="[Text]" custT="1"/>
      <dgm:spPr>
        <a:solidFill>
          <a:schemeClr val="bg1"/>
        </a:solidFill>
        <a:ln>
          <a:solidFill>
            <a:schemeClr val="accent1"/>
          </a:solidFill>
          <a:prstDash val="dash"/>
        </a:ln>
      </dgm:spPr>
      <dgm:t>
        <a:bodyPr/>
        <a:lstStyle/>
        <a:p>
          <a:r>
            <a:rPr lang="en-ZA" sz="1200" b="1" dirty="0">
              <a:latin typeface="Arial Rounded MT Bold" panose="020F0704030504030204" pitchFamily="34" charset="77"/>
            </a:rPr>
            <a:t>Portfolio/ Investment Management</a:t>
          </a:r>
          <a:endParaRPr lang="en-US" sz="1200" b="1" dirty="0">
            <a:latin typeface="Arial Rounded MT Bold" panose="020F0704030504030204" pitchFamily="34" charset="77"/>
          </a:endParaRPr>
        </a:p>
      </dgm:t>
    </dgm:pt>
    <dgm:pt modelId="{C234EF85-399C-D44A-BAAB-3D3182A00792}" type="parTrans" cxnId="{42E0AF70-C679-B843-A426-F9D3BA79BB80}">
      <dgm:prSet/>
      <dgm:spPr/>
      <dgm:t>
        <a:bodyPr/>
        <a:lstStyle/>
        <a:p>
          <a:endParaRPr lang="en-US" sz="2000"/>
        </a:p>
      </dgm:t>
    </dgm:pt>
    <dgm:pt modelId="{9587954E-B280-614D-AB81-BEA40A5B2920}" type="sibTrans" cxnId="{42E0AF70-C679-B843-A426-F9D3BA79BB80}">
      <dgm:prSet/>
      <dgm:spPr/>
      <dgm:t>
        <a:bodyPr/>
        <a:lstStyle/>
        <a:p>
          <a:endParaRPr lang="en-US" sz="2000"/>
        </a:p>
      </dgm:t>
    </dgm:pt>
    <dgm:pt modelId="{56643650-044C-1B41-BE40-80D9F5DE6EEA}">
      <dgm:prSet phldrT="[Text]" custT="1">
        <dgm:style>
          <a:lnRef idx="0">
            <a:schemeClr val="accent6"/>
          </a:lnRef>
          <a:fillRef idx="3">
            <a:schemeClr val="accent6"/>
          </a:fillRef>
          <a:effectRef idx="3">
            <a:schemeClr val="accent6"/>
          </a:effectRef>
          <a:fontRef idx="minor">
            <a:schemeClr val="lt1"/>
          </a:fontRef>
        </dgm:style>
      </dgm:prSet>
      <dgm:spPr>
        <a:solidFill>
          <a:srgbClr val="E36C0A"/>
        </a:solidFill>
        <a:ln>
          <a:solidFill>
            <a:srgbClr val="E36C0A"/>
          </a:solidFill>
        </a:ln>
      </dgm:spPr>
      <dgm:t>
        <a:bodyPr spcFirstLastPara="0" vert="horz" wrap="square" lIns="22860" tIns="17145" rIns="22860" bIns="17145" numCol="1" spcCol="1270" anchor="ctr" anchorCtr="0"/>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Estate</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Portfolio</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Management</a:t>
          </a:r>
        </a:p>
      </dgm:t>
    </dgm:pt>
    <dgm:pt modelId="{6F1DFC1B-84C5-424E-801A-78DE07EE6C83}" type="parTrans" cxnId="{B1010A2C-402E-B045-AA8B-6323CF639338}">
      <dgm:prSet/>
      <dgm:spPr/>
      <dgm:t>
        <a:bodyPr/>
        <a:lstStyle/>
        <a:p>
          <a:endParaRPr lang="en-US" sz="2000"/>
        </a:p>
      </dgm:t>
    </dgm:pt>
    <dgm:pt modelId="{2A9DBED1-0057-7340-84FF-205DD5FD2836}" type="sibTrans" cxnId="{B1010A2C-402E-B045-AA8B-6323CF639338}">
      <dgm:prSet/>
      <dgm:spPr/>
      <dgm:t>
        <a:bodyPr/>
        <a:lstStyle/>
        <a:p>
          <a:endParaRPr lang="en-US" sz="2000"/>
        </a:p>
      </dgm:t>
    </dgm:pt>
    <dgm:pt modelId="{746DB36A-3B65-A145-B478-9FD18AB44706}">
      <dgm:prSet phldrT="[Text]" custT="1"/>
      <dgm:spPr>
        <a:solidFill>
          <a:schemeClr val="bg1"/>
        </a:solidFill>
        <a:ln>
          <a:solidFill>
            <a:schemeClr val="accent1"/>
          </a:solidFill>
          <a:prstDash val="dash"/>
        </a:ln>
      </dgm:spPr>
      <dgm:t>
        <a:bodyPr/>
        <a:lstStyle/>
        <a:p>
          <a:r>
            <a:rPr lang="en-ZA" sz="1400" b="1" dirty="0">
              <a:latin typeface="Arial Rounded MT Bold" panose="020F0704030504030204" pitchFamily="34" charset="77"/>
            </a:rPr>
            <a:t>REMS (Leases)</a:t>
          </a:r>
          <a:endParaRPr lang="en-US" sz="1400" b="1" dirty="0">
            <a:latin typeface="Arial Rounded MT Bold" panose="020F0704030504030204" pitchFamily="34" charset="77"/>
          </a:endParaRPr>
        </a:p>
      </dgm:t>
    </dgm:pt>
    <dgm:pt modelId="{F29DA4D2-6F11-1F4A-ACD3-9F877F9FE05F}" type="parTrans" cxnId="{EC02C3C5-DE16-0345-AC26-1389EF30FA0D}">
      <dgm:prSet/>
      <dgm:spPr/>
      <dgm:t>
        <a:bodyPr/>
        <a:lstStyle/>
        <a:p>
          <a:endParaRPr lang="en-US" sz="2000"/>
        </a:p>
      </dgm:t>
    </dgm:pt>
    <dgm:pt modelId="{6E52A467-1C02-034A-A9EF-C7CB357D1BD0}" type="sibTrans" cxnId="{EC02C3C5-DE16-0345-AC26-1389EF30FA0D}">
      <dgm:prSet/>
      <dgm:spPr/>
      <dgm:t>
        <a:bodyPr/>
        <a:lstStyle/>
        <a:p>
          <a:endParaRPr lang="en-US" sz="2000"/>
        </a:p>
      </dgm:t>
    </dgm:pt>
    <dgm:pt modelId="{19FB9CE9-7153-D14C-9C08-AA7F623350D7}">
      <dgm:prSet phldrT="[Text]" custT="1">
        <dgm:style>
          <a:lnRef idx="0">
            <a:schemeClr val="accent6"/>
          </a:lnRef>
          <a:fillRef idx="3">
            <a:schemeClr val="accent6"/>
          </a:fillRef>
          <a:effectRef idx="3">
            <a:schemeClr val="accent6"/>
          </a:effectRef>
          <a:fontRef idx="minor">
            <a:schemeClr val="lt1"/>
          </a:fontRef>
        </dgm:style>
      </dgm:prSet>
      <dgm:spPr>
        <a:solidFill>
          <a:srgbClr val="E36C0A"/>
        </a:solidFill>
        <a:ln/>
      </dgm:spPr>
      <dgm:t>
        <a:bodyPr spcFirstLastPara="0" vert="horz" wrap="square" lIns="22860" tIns="17145" rIns="22860" bIns="17145" numCol="1" spcCol="1270" anchor="ctr" anchorCtr="0"/>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Estate</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Portfolio</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Management</a:t>
          </a:r>
        </a:p>
      </dgm:t>
    </dgm:pt>
    <dgm:pt modelId="{A3E5CDA2-01E5-6D42-A70D-BC1AC1F5D5D4}" type="parTrans" cxnId="{272F0A10-EF33-BF44-B337-69D137A5DFF0}">
      <dgm:prSet/>
      <dgm:spPr/>
      <dgm:t>
        <a:bodyPr/>
        <a:lstStyle/>
        <a:p>
          <a:endParaRPr lang="en-US" sz="2000"/>
        </a:p>
      </dgm:t>
    </dgm:pt>
    <dgm:pt modelId="{9E27F99E-6859-244D-8A99-311382CBD041}" type="sibTrans" cxnId="{272F0A10-EF33-BF44-B337-69D137A5DFF0}">
      <dgm:prSet/>
      <dgm:spPr/>
      <dgm:t>
        <a:bodyPr/>
        <a:lstStyle/>
        <a:p>
          <a:endParaRPr lang="en-US" sz="2000"/>
        </a:p>
      </dgm:t>
    </dgm:pt>
    <dgm:pt modelId="{456925A2-304C-1340-B163-E2672C88345A}">
      <dgm:prSet phldrT="[Text]" custT="1">
        <dgm:style>
          <a:lnRef idx="0">
            <a:schemeClr val="accent6"/>
          </a:lnRef>
          <a:fillRef idx="3">
            <a:schemeClr val="accent6"/>
          </a:fillRef>
          <a:effectRef idx="3">
            <a:schemeClr val="accent6"/>
          </a:effectRef>
          <a:fontRef idx="minor">
            <a:schemeClr val="lt1"/>
          </a:fontRef>
        </dgm:style>
      </dgm:prSet>
      <dgm:spPr>
        <a:solidFill>
          <a:srgbClr val="E36C0A"/>
        </a:solidFill>
        <a:ln>
          <a:solidFill>
            <a:srgbClr val="E36C0A"/>
          </a:solidFill>
        </a:ln>
      </dgm:spPr>
      <dgm:t>
        <a:bodyPr spcFirstLastPara="0" vert="horz" wrap="square" lIns="22860" tIns="17145" rIns="22860" bIns="17145" numCol="1" spcCol="1270" anchor="ctr" anchorCtr="0"/>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Estate</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Portfolio</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Management</a:t>
          </a:r>
        </a:p>
      </dgm:t>
    </dgm:pt>
    <dgm:pt modelId="{9F92AF63-80DA-B449-85EE-F04482E648FF}" type="parTrans" cxnId="{3F1EADD3-250A-8A4A-A56F-69E278119A24}">
      <dgm:prSet/>
      <dgm:spPr/>
      <dgm:t>
        <a:bodyPr/>
        <a:lstStyle/>
        <a:p>
          <a:endParaRPr lang="en-US" sz="2000"/>
        </a:p>
      </dgm:t>
    </dgm:pt>
    <dgm:pt modelId="{D97712A7-B6E0-4345-B4B3-8561ADB10B06}" type="sibTrans" cxnId="{3F1EADD3-250A-8A4A-A56F-69E278119A24}">
      <dgm:prSet/>
      <dgm:spPr/>
      <dgm:t>
        <a:bodyPr/>
        <a:lstStyle/>
        <a:p>
          <a:endParaRPr lang="en-US" sz="2000"/>
        </a:p>
      </dgm:t>
    </dgm:pt>
    <dgm:pt modelId="{3AFA62F7-6C36-B843-9335-1C46726B8C73}">
      <dgm:prSet phldrT="[Text]" custT="1">
        <dgm:style>
          <a:lnRef idx="0">
            <a:schemeClr val="accent6"/>
          </a:lnRef>
          <a:fillRef idx="3">
            <a:schemeClr val="accent6"/>
          </a:fillRef>
          <a:effectRef idx="3">
            <a:schemeClr val="accent6"/>
          </a:effectRef>
          <a:fontRef idx="minor">
            <a:schemeClr val="lt1"/>
          </a:fontRef>
        </dgm:style>
      </dgm:prSet>
      <dgm:spPr>
        <a:solidFill>
          <a:srgbClr val="E36C0A"/>
        </a:solidFill>
        <a:ln>
          <a:solidFill>
            <a:srgbClr val="E36C0A"/>
          </a:solidFill>
        </a:ln>
      </dgm:spPr>
      <dgm:t>
        <a:bodyPr spcFirstLastPara="0" vert="horz" wrap="square" lIns="22860" tIns="17145" rIns="22860" bIns="17145" numCol="1" spcCol="1270" anchor="ctr" anchorCtr="0"/>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Estate</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Portfolio</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Management</a:t>
          </a:r>
        </a:p>
      </dgm:t>
    </dgm:pt>
    <dgm:pt modelId="{88A8CB1C-5829-0542-9965-FD3A05DB9733}" type="parTrans" cxnId="{B1B23987-C194-1A40-B50C-D4FA0F6B3094}">
      <dgm:prSet/>
      <dgm:spPr/>
      <dgm:t>
        <a:bodyPr/>
        <a:lstStyle/>
        <a:p>
          <a:endParaRPr lang="en-US" sz="2000"/>
        </a:p>
      </dgm:t>
    </dgm:pt>
    <dgm:pt modelId="{B362CB8A-9F56-9A46-B7D8-4E9FC68D2C68}" type="sibTrans" cxnId="{B1B23987-C194-1A40-B50C-D4FA0F6B3094}">
      <dgm:prSet/>
      <dgm:spPr/>
      <dgm:t>
        <a:bodyPr/>
        <a:lstStyle/>
        <a:p>
          <a:endParaRPr lang="en-US" sz="2000"/>
        </a:p>
      </dgm:t>
    </dgm:pt>
    <dgm:pt modelId="{1D491BF6-3F84-904F-8244-C0A93BDDCF12}">
      <dgm:prSet phldrT="[Text]" custT="1">
        <dgm:style>
          <a:lnRef idx="1">
            <a:schemeClr val="accent3"/>
          </a:lnRef>
          <a:fillRef idx="3">
            <a:schemeClr val="accent3"/>
          </a:fillRef>
          <a:effectRef idx="2">
            <a:schemeClr val="accent3"/>
          </a:effectRef>
          <a:fontRef idx="minor">
            <a:schemeClr val="lt1"/>
          </a:fontRef>
        </dgm:style>
      </dgm:prSet>
      <dgm:spPr>
        <a:solidFill>
          <a:srgbClr val="FFC000"/>
        </a:solidFill>
        <a:ln>
          <a:solidFill>
            <a:srgbClr val="FFC000"/>
          </a:solidFill>
        </a:ln>
      </dgm:spPr>
      <dgm:t>
        <a:bodyPr/>
        <a:lstStyle/>
        <a:p>
          <a:r>
            <a:rPr lang="en-US" sz="1000" b="1" dirty="0"/>
            <a:t>Capital Budgeting Projects</a:t>
          </a:r>
        </a:p>
      </dgm:t>
    </dgm:pt>
    <dgm:pt modelId="{3997A17F-BC31-5D41-8801-C56EDD19DE55}" type="parTrans" cxnId="{72413F74-6700-5744-BAF8-4BFD2709D651}">
      <dgm:prSet/>
      <dgm:spPr/>
      <dgm:t>
        <a:bodyPr/>
        <a:lstStyle/>
        <a:p>
          <a:endParaRPr lang="en-US" sz="2000"/>
        </a:p>
      </dgm:t>
    </dgm:pt>
    <dgm:pt modelId="{91E747F9-C435-C64A-8D18-D163C7F4EF84}" type="sibTrans" cxnId="{72413F74-6700-5744-BAF8-4BFD2709D651}">
      <dgm:prSet/>
      <dgm:spPr/>
      <dgm:t>
        <a:bodyPr/>
        <a:lstStyle/>
        <a:p>
          <a:endParaRPr lang="en-US" sz="2000"/>
        </a:p>
      </dgm:t>
    </dgm:pt>
    <dgm:pt modelId="{0D678627-7AD7-5449-B9C6-466BA6706972}">
      <dgm:prSet phldrT="[Text]" custT="1">
        <dgm:style>
          <a:lnRef idx="1">
            <a:schemeClr val="accent5"/>
          </a:lnRef>
          <a:fillRef idx="3">
            <a:schemeClr val="accent5"/>
          </a:fillRef>
          <a:effectRef idx="2">
            <a:schemeClr val="accent5"/>
          </a:effectRef>
          <a:fontRef idx="minor">
            <a:schemeClr val="lt1"/>
          </a:fontRef>
        </dgm:style>
      </dgm:prSet>
      <dgm:spPr>
        <a:solidFill>
          <a:schemeClr val="tx2">
            <a:lumMod val="40000"/>
            <a:lumOff val="60000"/>
          </a:schemeClr>
        </a:solidFill>
        <a:ln>
          <a:solidFill>
            <a:schemeClr val="accent4">
              <a:lumMod val="75000"/>
            </a:schemeClr>
          </a:solidFill>
        </a:ln>
      </dgm:spPr>
      <dgm:t>
        <a:bodyPr spcFirstLastPara="0" vert="horz" wrap="square" lIns="22860" tIns="17145" rIns="22860" bIns="17145" numCol="1" spcCol="1270" anchor="ctr" anchorCtr="0"/>
        <a:lstStyle/>
        <a:p>
          <a:pPr marL="0" lvl="0" indent="0" algn="ctr" defTabSz="400050">
            <a:lnSpc>
              <a:spcPct val="90000"/>
            </a:lnSpc>
            <a:spcBef>
              <a:spcPct val="0"/>
            </a:spcBef>
            <a:spcAft>
              <a:spcPct val="35000"/>
            </a:spcAft>
            <a:buNone/>
          </a:pPr>
          <a:r>
            <a:rPr lang="en-US" sz="1000" b="1" kern="1200" dirty="0">
              <a:solidFill>
                <a:schemeClr val="tx1"/>
              </a:solidFill>
              <a:latin typeface="Calibri"/>
              <a:ea typeface="+mn-ea"/>
              <a:cs typeface="+mn-cs"/>
            </a:rPr>
            <a:t>Building</a:t>
          </a:r>
          <a:r>
            <a:rPr lang="en-US" sz="1000" b="1" kern="1200" dirty="0">
              <a:solidFill>
                <a:srgbClr val="1F497D"/>
              </a:solidFill>
              <a:latin typeface="Calibri"/>
              <a:ea typeface="+mn-ea"/>
              <a:cs typeface="+mn-cs"/>
            </a:rPr>
            <a:t> </a:t>
          </a:r>
          <a:r>
            <a:rPr lang="en-US" sz="1000" b="1" kern="1200" dirty="0">
              <a:solidFill>
                <a:schemeClr val="tx1"/>
              </a:solidFill>
              <a:latin typeface="Calibri"/>
              <a:ea typeface="+mn-ea"/>
              <a:cs typeface="+mn-cs"/>
            </a:rPr>
            <a:t>Operations</a:t>
          </a:r>
        </a:p>
      </dgm:t>
    </dgm:pt>
    <dgm:pt modelId="{61DA89D0-3DED-7C4D-8A96-2FB25F679AD4}" type="parTrans" cxnId="{5DE8CDD5-1885-684E-9EDB-88C27135992E}">
      <dgm:prSet/>
      <dgm:spPr/>
      <dgm:t>
        <a:bodyPr/>
        <a:lstStyle/>
        <a:p>
          <a:endParaRPr lang="en-US" sz="2000"/>
        </a:p>
      </dgm:t>
    </dgm:pt>
    <dgm:pt modelId="{0D48F21B-95CE-4F4A-B4D5-CFAA9347F014}" type="sibTrans" cxnId="{5DE8CDD5-1885-684E-9EDB-88C27135992E}">
      <dgm:prSet/>
      <dgm:spPr/>
      <dgm:t>
        <a:bodyPr/>
        <a:lstStyle/>
        <a:p>
          <a:endParaRPr lang="en-US" sz="2000"/>
        </a:p>
      </dgm:t>
    </dgm:pt>
    <dgm:pt modelId="{979A1641-9568-E14C-8EEE-277DE852EB7C}">
      <dgm:prSet phldrT="[Text]" custT="1">
        <dgm:style>
          <a:lnRef idx="2">
            <a:schemeClr val="accent4"/>
          </a:lnRef>
          <a:fillRef idx="1">
            <a:schemeClr val="lt1"/>
          </a:fillRef>
          <a:effectRef idx="0">
            <a:schemeClr val="accent4"/>
          </a:effectRef>
          <a:fontRef idx="minor">
            <a:schemeClr val="dk1"/>
          </a:fontRef>
        </dgm:style>
      </dgm:prSet>
      <dgm:spPr>
        <a:ln/>
      </dgm:spPr>
      <dgm:t>
        <a:bodyPr spcFirstLastPara="0" vert="horz" wrap="square" lIns="17780" tIns="13335" rIns="17780" bIns="13335" numCol="1" spcCol="1270" anchor="ctr" anchorCtr="0"/>
        <a:lstStyle/>
        <a:p>
          <a:pPr marL="0" lvl="0" indent="0" algn="ctr" defTabSz="311150">
            <a:lnSpc>
              <a:spcPct val="90000"/>
            </a:lnSpc>
            <a:spcBef>
              <a:spcPct val="0"/>
            </a:spcBef>
            <a:spcAft>
              <a:spcPct val="35000"/>
            </a:spcAft>
            <a:buNone/>
          </a:pPr>
          <a:r>
            <a:rPr lang="en-US" sz="900" b="1" kern="1200" dirty="0">
              <a:solidFill>
                <a:schemeClr val="tx1"/>
              </a:solidFill>
              <a:latin typeface="Calibri"/>
              <a:ea typeface="+mn-ea"/>
              <a:cs typeface="+mn-cs"/>
            </a:rPr>
            <a:t>Space Management</a:t>
          </a:r>
        </a:p>
      </dgm:t>
    </dgm:pt>
    <dgm:pt modelId="{1CD73F95-0AC7-0748-823A-7A2964CCEDFD}" type="parTrans" cxnId="{FE8B7442-7B69-6146-9AFA-E6ECAF3B6591}">
      <dgm:prSet/>
      <dgm:spPr/>
      <dgm:t>
        <a:bodyPr/>
        <a:lstStyle/>
        <a:p>
          <a:endParaRPr lang="en-US" sz="2000"/>
        </a:p>
      </dgm:t>
    </dgm:pt>
    <dgm:pt modelId="{3EB99283-E26E-5D45-8065-5BE52D9BA773}" type="sibTrans" cxnId="{FE8B7442-7B69-6146-9AFA-E6ECAF3B6591}">
      <dgm:prSet/>
      <dgm:spPr/>
      <dgm:t>
        <a:bodyPr/>
        <a:lstStyle/>
        <a:p>
          <a:endParaRPr lang="en-US" sz="2000"/>
        </a:p>
      </dgm:t>
    </dgm:pt>
    <dgm:pt modelId="{38993182-B43F-4C44-A711-34BFAC4840D7}">
      <dgm:prSet phldrT="[Text]" custT="1">
        <dgm:style>
          <a:lnRef idx="2">
            <a:schemeClr val="accent4"/>
          </a:lnRef>
          <a:fillRef idx="1">
            <a:schemeClr val="lt1"/>
          </a:fillRef>
          <a:effectRef idx="0">
            <a:schemeClr val="accent4"/>
          </a:effectRef>
          <a:fontRef idx="minor">
            <a:schemeClr val="dk1"/>
          </a:fontRef>
        </dgm:style>
      </dgm:prSet>
      <dgm:spPr>
        <a:ln/>
      </dgm:spPr>
      <dgm:t>
        <a:bodyPr spcFirstLastPara="0" vert="horz" wrap="square" lIns="17780" tIns="13335" rIns="17780" bIns="13335" numCol="1" spcCol="1270" anchor="ctr" anchorCtr="0"/>
        <a:lstStyle/>
        <a:p>
          <a:pPr marL="0" lvl="0" indent="0" algn="ctr" defTabSz="311150">
            <a:lnSpc>
              <a:spcPct val="90000"/>
            </a:lnSpc>
            <a:spcBef>
              <a:spcPct val="0"/>
            </a:spcBef>
            <a:spcAft>
              <a:spcPct val="35000"/>
            </a:spcAft>
            <a:buNone/>
          </a:pPr>
          <a:r>
            <a:rPr lang="en-US" sz="900" b="1" kern="1200" dirty="0">
              <a:solidFill>
                <a:schemeClr val="tx1"/>
              </a:solidFill>
              <a:latin typeface="Calibri"/>
              <a:ea typeface="+mn-ea"/>
              <a:cs typeface="+mn-cs"/>
            </a:rPr>
            <a:t>Environmental &amp; Risk</a:t>
          </a:r>
        </a:p>
      </dgm:t>
    </dgm:pt>
    <dgm:pt modelId="{FB4501B5-7F0F-F144-8E26-5EA381398123}" type="parTrans" cxnId="{2371AA77-8AB5-1F4A-8BF4-FBEE28B4C9DC}">
      <dgm:prSet/>
      <dgm:spPr/>
      <dgm:t>
        <a:bodyPr/>
        <a:lstStyle/>
        <a:p>
          <a:endParaRPr lang="en-US" sz="2000"/>
        </a:p>
      </dgm:t>
    </dgm:pt>
    <dgm:pt modelId="{27BCDAC9-DB9F-EC47-877A-D4C166AD9312}" type="sibTrans" cxnId="{2371AA77-8AB5-1F4A-8BF4-FBEE28B4C9DC}">
      <dgm:prSet/>
      <dgm:spPr/>
      <dgm:t>
        <a:bodyPr/>
        <a:lstStyle/>
        <a:p>
          <a:endParaRPr lang="en-US" sz="2000"/>
        </a:p>
      </dgm:t>
    </dgm:pt>
    <dgm:pt modelId="{BF90A0EF-C6B2-7747-AC09-AA37BA5358F6}">
      <dgm:prSet phldrT="[Text]" custT="1"/>
      <dgm:spPr>
        <a:solidFill>
          <a:schemeClr val="bg1"/>
        </a:solidFill>
        <a:ln>
          <a:solidFill>
            <a:schemeClr val="accent1"/>
          </a:solidFill>
          <a:prstDash val="dash"/>
        </a:ln>
      </dgm:spPr>
      <dgm:t>
        <a:bodyPr/>
        <a:lstStyle/>
        <a:p>
          <a:r>
            <a:rPr lang="en-ZA" sz="1200" b="1" dirty="0">
              <a:latin typeface="Arial Rounded MT Bold" panose="020F0704030504030204" pitchFamily="34" charset="77"/>
            </a:rPr>
            <a:t>Facility Management</a:t>
          </a:r>
          <a:endParaRPr lang="en-US" sz="1200" b="1" dirty="0">
            <a:latin typeface="Arial Rounded MT Bold" panose="020F0704030504030204" pitchFamily="34" charset="77"/>
          </a:endParaRPr>
        </a:p>
      </dgm:t>
    </dgm:pt>
    <dgm:pt modelId="{F043080F-E62D-0A4A-9E52-25AA81B7D023}" type="parTrans" cxnId="{80C6742E-82E4-184D-8FCA-CFDE41B72C1D}">
      <dgm:prSet/>
      <dgm:spPr/>
      <dgm:t>
        <a:bodyPr/>
        <a:lstStyle/>
        <a:p>
          <a:endParaRPr lang="en-US" sz="2000"/>
        </a:p>
      </dgm:t>
    </dgm:pt>
    <dgm:pt modelId="{A03DADA9-2439-E741-92D6-35CA6232C31D}" type="sibTrans" cxnId="{80C6742E-82E4-184D-8FCA-CFDE41B72C1D}">
      <dgm:prSet/>
      <dgm:spPr/>
      <dgm:t>
        <a:bodyPr/>
        <a:lstStyle/>
        <a:p>
          <a:endParaRPr lang="en-US" sz="2000"/>
        </a:p>
      </dgm:t>
    </dgm:pt>
    <dgm:pt modelId="{93EF0CDD-34B1-8442-81F5-EDE1E95BB3A7}">
      <dgm:prSet phldrT="[Text]" custT="1"/>
      <dgm:spPr>
        <a:solidFill>
          <a:schemeClr val="bg1"/>
        </a:solidFill>
        <a:ln>
          <a:solidFill>
            <a:schemeClr val="accent1"/>
          </a:solidFill>
          <a:prstDash val="dash"/>
        </a:ln>
      </dgm:spPr>
      <dgm:t>
        <a:bodyPr/>
        <a:lstStyle/>
        <a:p>
          <a:r>
            <a:rPr lang="en-ZA" sz="1200" b="1" dirty="0">
              <a:latin typeface="Arial Rounded MT Bold" panose="020F0704030504030204" pitchFamily="34" charset="77"/>
            </a:rPr>
            <a:t>Demand Management</a:t>
          </a:r>
          <a:endParaRPr lang="en-US" sz="1200" b="1" dirty="0">
            <a:latin typeface="Arial Rounded MT Bold" panose="020F0704030504030204" pitchFamily="34" charset="77"/>
          </a:endParaRPr>
        </a:p>
      </dgm:t>
    </dgm:pt>
    <dgm:pt modelId="{D00DBB13-D8AB-314C-A637-64A1374D40EA}" type="parTrans" cxnId="{7BBF75CA-2E9A-2C4B-B866-D1EF992FD0D7}">
      <dgm:prSet/>
      <dgm:spPr/>
      <dgm:t>
        <a:bodyPr/>
        <a:lstStyle/>
        <a:p>
          <a:endParaRPr lang="en-US" sz="2000"/>
        </a:p>
      </dgm:t>
    </dgm:pt>
    <dgm:pt modelId="{7956709D-341B-1C4C-813B-D0163F9F6CC1}" type="sibTrans" cxnId="{7BBF75CA-2E9A-2C4B-B866-D1EF992FD0D7}">
      <dgm:prSet/>
      <dgm:spPr/>
      <dgm:t>
        <a:bodyPr/>
        <a:lstStyle/>
        <a:p>
          <a:endParaRPr lang="en-US" sz="2000"/>
        </a:p>
      </dgm:t>
    </dgm:pt>
    <dgm:pt modelId="{517B3F3C-3F41-0147-9901-306775595F16}">
      <dgm:prSet phldrT="[Text]" custT="1"/>
      <dgm:spPr>
        <a:solidFill>
          <a:schemeClr val="bg1"/>
        </a:solidFill>
        <a:ln>
          <a:solidFill>
            <a:schemeClr val="accent1"/>
          </a:solidFill>
          <a:prstDash val="dash"/>
        </a:ln>
      </dgm:spPr>
      <dgm:t>
        <a:bodyPr/>
        <a:lstStyle/>
        <a:p>
          <a:r>
            <a:rPr lang="en-ZA" sz="1200" b="1" dirty="0">
              <a:latin typeface="Arial Rounded MT Bold" panose="020F0704030504030204" pitchFamily="34" charset="77"/>
            </a:rPr>
            <a:t>REIRS (Asset Register)</a:t>
          </a:r>
          <a:endParaRPr lang="en-US" sz="1200" b="1" dirty="0">
            <a:latin typeface="Arial Rounded MT Bold" panose="020F0704030504030204" pitchFamily="34" charset="77"/>
          </a:endParaRPr>
        </a:p>
      </dgm:t>
    </dgm:pt>
    <dgm:pt modelId="{0F9F2A2D-51DF-EA47-AB89-F1C71162EB48}" type="parTrans" cxnId="{42458339-49C8-3845-B8D6-AD909A31D9A7}">
      <dgm:prSet/>
      <dgm:spPr/>
      <dgm:t>
        <a:bodyPr/>
        <a:lstStyle/>
        <a:p>
          <a:endParaRPr lang="en-US" sz="2000"/>
        </a:p>
      </dgm:t>
    </dgm:pt>
    <dgm:pt modelId="{34943373-AE4F-C845-8498-0B9C58BD9303}" type="sibTrans" cxnId="{42458339-49C8-3845-B8D6-AD909A31D9A7}">
      <dgm:prSet/>
      <dgm:spPr/>
      <dgm:t>
        <a:bodyPr/>
        <a:lstStyle/>
        <a:p>
          <a:endParaRPr lang="en-US" sz="2000"/>
        </a:p>
      </dgm:t>
    </dgm:pt>
    <dgm:pt modelId="{AFEF2BA1-F655-3049-825C-6B8AE4607AAD}">
      <dgm:prSet phldrT="[Text]" custT="1">
        <dgm:style>
          <a:lnRef idx="1">
            <a:schemeClr val="accent4"/>
          </a:lnRef>
          <a:fillRef idx="3">
            <a:schemeClr val="accent4"/>
          </a:fillRef>
          <a:effectRef idx="2">
            <a:schemeClr val="accent4"/>
          </a:effectRef>
          <a:fontRef idx="minor">
            <a:schemeClr val="lt1"/>
          </a:fontRef>
        </dgm:style>
      </dgm:prSet>
      <dgm:spPr>
        <a:solidFill>
          <a:srgbClr val="F79646"/>
        </a:solidFill>
        <a:ln>
          <a:solidFill>
            <a:srgbClr val="F79646"/>
          </a:solidFill>
        </a:ln>
      </dgm:spPr>
      <dgm:t>
        <a:bodyPr/>
        <a:lstStyle/>
        <a:p>
          <a:r>
            <a:rPr lang="en-US" sz="1100" b="1" dirty="0">
              <a:solidFill>
                <a:schemeClr val="bg1"/>
              </a:solidFill>
            </a:rPr>
            <a:t> </a:t>
          </a:r>
          <a:r>
            <a:rPr lang="en-US" sz="1100" b="1" dirty="0">
              <a:solidFill>
                <a:schemeClr val="tx1"/>
              </a:solidFill>
            </a:rPr>
            <a:t>Asset</a:t>
          </a:r>
          <a:r>
            <a:rPr lang="en-US" sz="1100" b="1" dirty="0">
              <a:solidFill>
                <a:schemeClr val="bg1"/>
              </a:solidFill>
            </a:rPr>
            <a:t> </a:t>
          </a:r>
          <a:r>
            <a:rPr lang="en-US" sz="1100" b="1" dirty="0">
              <a:solidFill>
                <a:schemeClr val="tx1"/>
              </a:solidFill>
            </a:rPr>
            <a:t>Management</a:t>
          </a:r>
        </a:p>
      </dgm:t>
    </dgm:pt>
    <dgm:pt modelId="{5865558D-8BBA-F245-901E-69FFBB0623A1}" type="parTrans" cxnId="{7F22F2BD-D78A-A34D-998F-EBEA31BB170B}">
      <dgm:prSet/>
      <dgm:spPr/>
      <dgm:t>
        <a:bodyPr/>
        <a:lstStyle/>
        <a:p>
          <a:endParaRPr lang="en-US" sz="2000"/>
        </a:p>
      </dgm:t>
    </dgm:pt>
    <dgm:pt modelId="{FAA10A2A-143F-DB46-8697-788B91C1F5BC}" type="sibTrans" cxnId="{7F22F2BD-D78A-A34D-998F-EBEA31BB170B}">
      <dgm:prSet/>
      <dgm:spPr/>
      <dgm:t>
        <a:bodyPr/>
        <a:lstStyle/>
        <a:p>
          <a:endParaRPr lang="en-US" sz="2000"/>
        </a:p>
      </dgm:t>
    </dgm:pt>
    <dgm:pt modelId="{FC561D56-5FF4-1B4B-8AE8-D6C435855BD7}">
      <dgm:prSet phldrT="[Text]" custT="1">
        <dgm:style>
          <a:lnRef idx="2">
            <a:schemeClr val="accent4"/>
          </a:lnRef>
          <a:fillRef idx="1">
            <a:schemeClr val="lt1"/>
          </a:fillRef>
          <a:effectRef idx="0">
            <a:schemeClr val="accent4"/>
          </a:effectRef>
          <a:fontRef idx="minor">
            <a:schemeClr val="dk1"/>
          </a:fontRef>
        </dgm:style>
      </dgm:prSet>
      <dgm:spPr>
        <a:ln/>
      </dgm:spPr>
      <dgm:t>
        <a:bodyPr spcFirstLastPara="0" vert="horz" wrap="square" lIns="17780" tIns="13335" rIns="17780" bIns="13335" numCol="1" spcCol="1270" anchor="ctr" anchorCtr="0"/>
        <a:lstStyle/>
        <a:p>
          <a:pPr marL="0" lvl="0" indent="0" algn="ctr" defTabSz="311150">
            <a:lnSpc>
              <a:spcPct val="90000"/>
            </a:lnSpc>
            <a:spcBef>
              <a:spcPct val="0"/>
            </a:spcBef>
            <a:spcAft>
              <a:spcPct val="35000"/>
            </a:spcAft>
            <a:buNone/>
          </a:pPr>
          <a:r>
            <a:rPr lang="en-US" sz="800" b="1" kern="1200" dirty="0">
              <a:solidFill>
                <a:schemeClr val="tx1"/>
              </a:solidFill>
              <a:latin typeface="Calibri"/>
              <a:ea typeface="+mn-ea"/>
              <a:cs typeface="+mn-cs"/>
            </a:rPr>
            <a:t>Work Place Management </a:t>
          </a:r>
        </a:p>
      </dgm:t>
    </dgm:pt>
    <dgm:pt modelId="{AC8527DB-FE58-FD47-8EEF-E0C4E25C156C}" type="parTrans" cxnId="{F49B9680-0884-5347-B207-01A739DA2573}">
      <dgm:prSet/>
      <dgm:spPr/>
      <dgm:t>
        <a:bodyPr/>
        <a:lstStyle/>
        <a:p>
          <a:endParaRPr lang="en-US" sz="2000"/>
        </a:p>
      </dgm:t>
    </dgm:pt>
    <dgm:pt modelId="{1F8A15A0-CB43-9442-990F-F78E9D7E4E37}" type="sibTrans" cxnId="{F49B9680-0884-5347-B207-01A739DA2573}">
      <dgm:prSet/>
      <dgm:spPr/>
      <dgm:t>
        <a:bodyPr/>
        <a:lstStyle/>
        <a:p>
          <a:endParaRPr lang="en-US" sz="2000"/>
        </a:p>
      </dgm:t>
    </dgm:pt>
    <dgm:pt modelId="{8E94A4DE-313D-104F-9A6D-6294EA969210}">
      <dgm:prSet phldrT="[Text]" custT="1">
        <dgm:style>
          <a:lnRef idx="1">
            <a:schemeClr val="accent4"/>
          </a:lnRef>
          <a:fillRef idx="3">
            <a:schemeClr val="accent4"/>
          </a:fillRef>
          <a:effectRef idx="2">
            <a:schemeClr val="accent4"/>
          </a:effectRef>
          <a:fontRef idx="minor">
            <a:schemeClr val="lt1"/>
          </a:fontRef>
        </dgm:style>
      </dgm:prSet>
      <dgm:spPr>
        <a:solidFill>
          <a:srgbClr val="F79646"/>
        </a:solidFill>
        <a:ln>
          <a:solidFill>
            <a:srgbClr val="F79646"/>
          </a:solidFill>
        </a:ln>
      </dgm:spPr>
      <dgm:t>
        <a:bodyPr spcFirstLastPara="0" vert="horz" wrap="square" lIns="25400" tIns="19050" rIns="25400" bIns="19050" numCol="1" spcCol="1270" anchor="ctr" anchorCtr="0"/>
        <a:lstStyle/>
        <a:p>
          <a:pPr marL="0" lvl="0" indent="0" algn="ctr" defTabSz="444500">
            <a:lnSpc>
              <a:spcPct val="90000"/>
            </a:lnSpc>
            <a:spcBef>
              <a:spcPct val="0"/>
            </a:spcBef>
            <a:spcAft>
              <a:spcPct val="35000"/>
            </a:spcAft>
            <a:buNone/>
          </a:pPr>
          <a:r>
            <a:rPr lang="en-US" sz="1200" b="1" kern="1200" dirty="0">
              <a:solidFill>
                <a:schemeClr val="tx1"/>
              </a:solidFill>
              <a:latin typeface="Calibri"/>
              <a:ea typeface="+mn-ea"/>
              <a:cs typeface="+mn-cs"/>
            </a:rPr>
            <a:t>Asset</a:t>
          </a:r>
          <a:r>
            <a:rPr lang="en-US" sz="1200" b="1" kern="1200" dirty="0">
              <a:solidFill>
                <a:prstClr val="white"/>
              </a:solidFill>
              <a:latin typeface="Calibri"/>
              <a:ea typeface="+mn-ea"/>
              <a:cs typeface="+mn-cs"/>
            </a:rPr>
            <a:t> </a:t>
          </a:r>
          <a:r>
            <a:rPr lang="en-US" sz="1200" b="1" kern="1200" dirty="0">
              <a:solidFill>
                <a:schemeClr val="tx1"/>
              </a:solidFill>
              <a:latin typeface="Calibri"/>
              <a:ea typeface="+mn-ea"/>
              <a:cs typeface="+mn-cs"/>
            </a:rPr>
            <a:t>Management</a:t>
          </a:r>
        </a:p>
      </dgm:t>
    </dgm:pt>
    <dgm:pt modelId="{ABBD0DCE-4BD5-6143-9D16-07C56DE03AFF}" type="parTrans" cxnId="{5C144A60-448D-AE44-877F-0AEBAFC93DDD}">
      <dgm:prSet/>
      <dgm:spPr/>
      <dgm:t>
        <a:bodyPr/>
        <a:lstStyle/>
        <a:p>
          <a:endParaRPr lang="en-US" sz="2000"/>
        </a:p>
      </dgm:t>
    </dgm:pt>
    <dgm:pt modelId="{0A8341D4-7688-C24E-A432-A8ED0491CA7F}" type="sibTrans" cxnId="{5C144A60-448D-AE44-877F-0AEBAFC93DDD}">
      <dgm:prSet/>
      <dgm:spPr/>
      <dgm:t>
        <a:bodyPr/>
        <a:lstStyle/>
        <a:p>
          <a:endParaRPr lang="en-US" sz="2000"/>
        </a:p>
      </dgm:t>
    </dgm:pt>
    <dgm:pt modelId="{56A4C093-741A-2644-97C6-D076C01BC217}">
      <dgm:prSet phldrT="[Text]" custT="1">
        <dgm:style>
          <a:lnRef idx="1">
            <a:schemeClr val="accent4"/>
          </a:lnRef>
          <a:fillRef idx="3">
            <a:schemeClr val="accent4"/>
          </a:fillRef>
          <a:effectRef idx="2">
            <a:schemeClr val="accent4"/>
          </a:effectRef>
          <a:fontRef idx="minor">
            <a:schemeClr val="lt1"/>
          </a:fontRef>
        </dgm:style>
      </dgm:prSet>
      <dgm:spPr>
        <a:solidFill>
          <a:srgbClr val="F79646"/>
        </a:solidFill>
        <a:ln>
          <a:solidFill>
            <a:srgbClr val="F79646"/>
          </a:solidFill>
        </a:ln>
      </dgm:spPr>
      <dgm:t>
        <a:bodyPr spcFirstLastPara="0" vert="horz" wrap="square" lIns="25400" tIns="19050" rIns="25400" bIns="19050" numCol="1" spcCol="1270" anchor="ctr" anchorCtr="0"/>
        <a:lstStyle/>
        <a:p>
          <a:pPr marL="0" lvl="0" indent="0" algn="ctr" defTabSz="444500">
            <a:lnSpc>
              <a:spcPct val="90000"/>
            </a:lnSpc>
            <a:spcBef>
              <a:spcPct val="0"/>
            </a:spcBef>
            <a:spcAft>
              <a:spcPct val="35000"/>
            </a:spcAft>
            <a:buNone/>
          </a:pPr>
          <a:r>
            <a:rPr lang="en-US" sz="1050" b="1" kern="1200" dirty="0">
              <a:solidFill>
                <a:schemeClr val="tx1"/>
              </a:solidFill>
              <a:latin typeface="Calibri"/>
              <a:ea typeface="+mn-ea"/>
              <a:cs typeface="+mn-cs"/>
            </a:rPr>
            <a:t>Asset</a:t>
          </a:r>
          <a:r>
            <a:rPr lang="en-US" sz="1050" b="1" kern="1200" dirty="0">
              <a:solidFill>
                <a:prstClr val="white"/>
              </a:solidFill>
              <a:latin typeface="Calibri"/>
              <a:ea typeface="+mn-ea"/>
              <a:cs typeface="+mn-cs"/>
            </a:rPr>
            <a:t> </a:t>
          </a:r>
          <a:r>
            <a:rPr lang="en-US" sz="1050" b="1" kern="1200" dirty="0">
              <a:solidFill>
                <a:schemeClr val="tx1"/>
              </a:solidFill>
              <a:latin typeface="Calibri"/>
              <a:ea typeface="+mn-ea"/>
              <a:cs typeface="+mn-cs"/>
            </a:rPr>
            <a:t>Management</a:t>
          </a:r>
        </a:p>
      </dgm:t>
    </dgm:pt>
    <dgm:pt modelId="{ECD39CC7-8223-9D49-A2C9-B5ED0A19979A}" type="parTrans" cxnId="{1E67A4AF-EC9B-9F4D-8429-0A0F8680BC29}">
      <dgm:prSet/>
      <dgm:spPr/>
      <dgm:t>
        <a:bodyPr/>
        <a:lstStyle/>
        <a:p>
          <a:endParaRPr lang="en-US" sz="2000"/>
        </a:p>
      </dgm:t>
    </dgm:pt>
    <dgm:pt modelId="{40055289-63CB-5A4A-9802-EBD82BDE2E41}" type="sibTrans" cxnId="{1E67A4AF-EC9B-9F4D-8429-0A0F8680BC29}">
      <dgm:prSet/>
      <dgm:spPr/>
      <dgm:t>
        <a:bodyPr/>
        <a:lstStyle/>
        <a:p>
          <a:endParaRPr lang="en-US" sz="2000"/>
        </a:p>
      </dgm:t>
    </dgm:pt>
    <dgm:pt modelId="{B11DD8C3-A36C-6741-87E7-879FB1C0E6BD}">
      <dgm:prSet phldrT="[Text]" custT="1">
        <dgm:style>
          <a:lnRef idx="1">
            <a:schemeClr val="accent3"/>
          </a:lnRef>
          <a:fillRef idx="3">
            <a:schemeClr val="accent3"/>
          </a:fillRef>
          <a:effectRef idx="2">
            <a:schemeClr val="accent3"/>
          </a:effectRef>
          <a:fontRef idx="minor">
            <a:schemeClr val="lt1"/>
          </a:fontRef>
        </dgm:style>
      </dgm:prSet>
      <dgm:spPr>
        <a:solidFill>
          <a:srgbClr val="FFC000"/>
        </a:solidFill>
        <a:ln>
          <a:solidFill>
            <a:srgbClr val="FFC000"/>
          </a:solidFill>
        </a:ln>
      </dgm:spPr>
      <dgm:t>
        <a:bodyPr spcFirstLastPara="0" vert="horz" wrap="square" lIns="22860" tIns="17145" rIns="22860" bIns="17145" numCol="1" spcCol="1270" anchor="ctr" anchorCtr="0"/>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Capital</a:t>
          </a:r>
          <a:r>
            <a:rPr lang="en-US" sz="1100" b="1" kern="1200" dirty="0">
              <a:solidFill>
                <a:schemeClr val="bg1"/>
              </a:solidFill>
              <a:latin typeface="Calibri"/>
              <a:ea typeface="+mn-ea"/>
              <a:cs typeface="+mn-cs"/>
            </a:rPr>
            <a:t> </a:t>
          </a:r>
          <a:r>
            <a:rPr lang="en-US" sz="1100" b="1" kern="1200" dirty="0">
              <a:solidFill>
                <a:prstClr val="black">
                  <a:hueOff val="0"/>
                  <a:satOff val="0"/>
                  <a:lumOff val="0"/>
                  <a:alphaOff val="0"/>
                </a:prstClr>
              </a:solidFill>
              <a:latin typeface="Calibri"/>
              <a:ea typeface="+mn-ea"/>
              <a:cs typeface="+mn-cs"/>
            </a:rPr>
            <a:t>Budgeting</a:t>
          </a:r>
        </a:p>
      </dgm:t>
    </dgm:pt>
    <dgm:pt modelId="{20777451-726D-E74B-8E41-5E35EDF395EA}" type="parTrans" cxnId="{34AEFC34-C22D-6F43-BC38-132783BC6A68}">
      <dgm:prSet/>
      <dgm:spPr/>
      <dgm:t>
        <a:bodyPr/>
        <a:lstStyle/>
        <a:p>
          <a:endParaRPr lang="en-US" sz="2000"/>
        </a:p>
      </dgm:t>
    </dgm:pt>
    <dgm:pt modelId="{C90229C2-4D74-4F4C-9BFA-7BEE18F8501C}" type="sibTrans" cxnId="{34AEFC34-C22D-6F43-BC38-132783BC6A68}">
      <dgm:prSet/>
      <dgm:spPr/>
      <dgm:t>
        <a:bodyPr/>
        <a:lstStyle/>
        <a:p>
          <a:endParaRPr lang="en-US" sz="2000"/>
        </a:p>
      </dgm:t>
    </dgm:pt>
    <dgm:pt modelId="{C1177BB5-5449-46D6-9F42-4653B71C4DB6}">
      <dgm:prSet phldrT="[Text]" custT="1">
        <dgm:style>
          <a:lnRef idx="1">
            <a:schemeClr val="accent5"/>
          </a:lnRef>
          <a:fillRef idx="3">
            <a:schemeClr val="accent5"/>
          </a:fillRef>
          <a:effectRef idx="2">
            <a:schemeClr val="accent5"/>
          </a:effectRef>
          <a:fontRef idx="minor">
            <a:schemeClr val="lt1"/>
          </a:fontRef>
        </dgm:style>
      </dgm:prSet>
      <dgm:spPr>
        <a:solidFill>
          <a:srgbClr val="F79646"/>
        </a:solidFill>
        <a:ln>
          <a:solidFill>
            <a:srgbClr val="F79646"/>
          </a:solidFill>
        </a:ln>
      </dgm:spPr>
      <dgm:t>
        <a:bodyPr spcFirstLastPara="0" vert="horz" wrap="square" lIns="22860" tIns="17145" rIns="22860" bIns="17145" numCol="1" spcCol="1270" anchor="ctr" anchorCtr="0"/>
        <a:lstStyle/>
        <a:p>
          <a:pPr>
            <a:buNone/>
          </a:pPr>
          <a:r>
            <a:rPr lang="en-US" sz="1400" b="1" dirty="0">
              <a:solidFill>
                <a:schemeClr val="tx1"/>
              </a:solidFill>
              <a:latin typeface="Calibri"/>
              <a:ea typeface="+mn-ea"/>
              <a:cs typeface="+mn-cs"/>
            </a:rPr>
            <a:t>Asset</a:t>
          </a:r>
          <a:r>
            <a:rPr lang="en-US" sz="1400" b="1" dirty="0">
              <a:solidFill>
                <a:srgbClr val="1F497D"/>
              </a:solidFill>
              <a:latin typeface="Calibri"/>
              <a:ea typeface="+mn-ea"/>
              <a:cs typeface="+mn-cs"/>
            </a:rPr>
            <a:t> </a:t>
          </a:r>
          <a:r>
            <a:rPr lang="en-US" sz="1400" b="1" dirty="0">
              <a:solidFill>
                <a:schemeClr val="tx1"/>
              </a:solidFill>
              <a:latin typeface="Calibri"/>
              <a:ea typeface="+mn-ea"/>
              <a:cs typeface="+mn-cs"/>
            </a:rPr>
            <a:t>Management</a:t>
          </a:r>
          <a:r>
            <a:rPr lang="en-US" sz="1400" b="1" dirty="0">
              <a:solidFill>
                <a:srgbClr val="1F497D"/>
              </a:solidFill>
              <a:latin typeface="Calibri"/>
              <a:ea typeface="+mn-ea"/>
              <a:cs typeface="+mn-cs"/>
            </a:rPr>
            <a:t> </a:t>
          </a:r>
        </a:p>
      </dgm:t>
    </dgm:pt>
    <dgm:pt modelId="{2905A04E-1F0D-4DDF-A725-F49A2F9F076C}" type="parTrans" cxnId="{3BECDEC2-217F-4CE3-82CE-3AA70275F200}">
      <dgm:prSet/>
      <dgm:spPr/>
      <dgm:t>
        <a:bodyPr/>
        <a:lstStyle/>
        <a:p>
          <a:endParaRPr lang="en-US" sz="2000"/>
        </a:p>
      </dgm:t>
    </dgm:pt>
    <dgm:pt modelId="{B930E263-C0B2-46D8-9A25-62BA701D09C3}" type="sibTrans" cxnId="{3BECDEC2-217F-4CE3-82CE-3AA70275F200}">
      <dgm:prSet/>
      <dgm:spPr/>
      <dgm:t>
        <a:bodyPr/>
        <a:lstStyle/>
        <a:p>
          <a:endParaRPr lang="en-US" sz="2000"/>
        </a:p>
      </dgm:t>
    </dgm:pt>
    <dgm:pt modelId="{FC3F938D-B965-0043-BD9A-6B7C1E48D575}">
      <dgm:prSet phldrT="[Text]" custT="1">
        <dgm:style>
          <a:lnRef idx="1">
            <a:schemeClr val="accent3"/>
          </a:lnRef>
          <a:fillRef idx="3">
            <a:schemeClr val="accent3"/>
          </a:fillRef>
          <a:effectRef idx="2">
            <a:schemeClr val="accent3"/>
          </a:effectRef>
          <a:fontRef idx="minor">
            <a:schemeClr val="lt1"/>
          </a:fontRef>
        </dgm:style>
      </dgm:prSet>
      <dgm:spPr>
        <a:solidFill>
          <a:srgbClr val="FFC000"/>
        </a:solidFill>
        <a:ln>
          <a:solidFill>
            <a:srgbClr val="FFC000"/>
          </a:solidFill>
        </a:ln>
      </dgm:spPr>
      <dgm:t>
        <a:bodyPr spcFirstLastPara="0" vert="horz" wrap="square" lIns="22860" tIns="17145" rIns="22860" bIns="17145" numCol="1" spcCol="1270" anchor="ctr" anchorCtr="0"/>
        <a:lstStyle/>
        <a:p>
          <a:pPr marL="0" lvl="0" indent="0" algn="ctr" defTabSz="400050">
            <a:lnSpc>
              <a:spcPct val="90000"/>
            </a:lnSpc>
            <a:spcBef>
              <a:spcPct val="0"/>
            </a:spcBef>
            <a:spcAft>
              <a:spcPct val="35000"/>
            </a:spcAft>
            <a:buNone/>
          </a:pPr>
          <a:r>
            <a:rPr lang="en-US" sz="1100" b="1" kern="1200" dirty="0">
              <a:solidFill>
                <a:prstClr val="black">
                  <a:hueOff val="0"/>
                  <a:satOff val="0"/>
                  <a:lumOff val="0"/>
                  <a:alphaOff val="0"/>
                </a:prstClr>
              </a:solidFill>
              <a:latin typeface="Calibri"/>
              <a:ea typeface="+mn-ea"/>
              <a:cs typeface="+mn-cs"/>
            </a:rPr>
            <a:t>Capital </a:t>
          </a:r>
          <a:r>
            <a:rPr lang="en-US" sz="1100" b="1" kern="1200" dirty="0">
              <a:solidFill>
                <a:schemeClr val="tx1"/>
              </a:solidFill>
              <a:latin typeface="Calibri"/>
              <a:ea typeface="+mn-ea"/>
              <a:cs typeface="+mn-cs"/>
            </a:rPr>
            <a:t>Budgeting</a:t>
          </a:r>
        </a:p>
      </dgm:t>
    </dgm:pt>
    <dgm:pt modelId="{DA9D24E6-C4AA-4F4A-A518-9B6FC192E5AD}" type="sibTrans" cxnId="{24400DA2-0469-8B4D-A79E-38DB56E34016}">
      <dgm:prSet/>
      <dgm:spPr/>
      <dgm:t>
        <a:bodyPr/>
        <a:lstStyle/>
        <a:p>
          <a:endParaRPr lang="en-US" sz="2000"/>
        </a:p>
      </dgm:t>
    </dgm:pt>
    <dgm:pt modelId="{0C7E3400-6DB7-5842-A90A-E0D100B88F9F}" type="parTrans" cxnId="{24400DA2-0469-8B4D-A79E-38DB56E34016}">
      <dgm:prSet/>
      <dgm:spPr/>
      <dgm:t>
        <a:bodyPr/>
        <a:lstStyle/>
        <a:p>
          <a:endParaRPr lang="en-US" sz="2000"/>
        </a:p>
      </dgm:t>
    </dgm:pt>
    <dgm:pt modelId="{A80C1399-967C-CA42-B0C7-1E8FF425E350}">
      <dgm:prSet phldrT="[Text]" custT="1">
        <dgm:style>
          <a:lnRef idx="1">
            <a:schemeClr val="accent5"/>
          </a:lnRef>
          <a:fillRef idx="3">
            <a:schemeClr val="accent5"/>
          </a:fillRef>
          <a:effectRef idx="2">
            <a:schemeClr val="accent5"/>
          </a:effectRef>
          <a:fontRef idx="minor">
            <a:schemeClr val="lt1"/>
          </a:fontRef>
        </dgm:style>
      </dgm:prSet>
      <dgm:spPr>
        <a:solidFill>
          <a:srgbClr val="E36C0A"/>
        </a:solidFill>
        <a:ln>
          <a:solidFill>
            <a:srgbClr val="E36C0A"/>
          </a:solidFill>
        </a:ln>
      </dgm:spPr>
      <dgm:t>
        <a:bodyPr spcFirstLastPara="0" vert="horz" wrap="square" lIns="22860" tIns="17145" rIns="22860" bIns="17145" numCol="1" spcCol="1270" anchor="ctr" anchorCtr="0"/>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 Estate Portfolio Management </a:t>
          </a:r>
        </a:p>
      </dgm:t>
    </dgm:pt>
    <dgm:pt modelId="{64540C7B-3673-B641-B905-0E6B83FF067F}" type="sibTrans" cxnId="{002F0C5B-9FED-7142-B5E0-3FF184C50228}">
      <dgm:prSet/>
      <dgm:spPr/>
      <dgm:t>
        <a:bodyPr/>
        <a:lstStyle/>
        <a:p>
          <a:endParaRPr lang="en-US" sz="2000"/>
        </a:p>
      </dgm:t>
    </dgm:pt>
    <dgm:pt modelId="{002625CB-83FC-4B4A-8FC2-CFAAC5D9F8E5}" type="parTrans" cxnId="{002F0C5B-9FED-7142-B5E0-3FF184C50228}">
      <dgm:prSet/>
      <dgm:spPr/>
      <dgm:t>
        <a:bodyPr/>
        <a:lstStyle/>
        <a:p>
          <a:endParaRPr lang="en-US" sz="2000"/>
        </a:p>
      </dgm:t>
    </dgm:pt>
    <dgm:pt modelId="{3FD60BE2-B8FD-43F2-8C8C-9F1C434D9717}">
      <dgm:prSet phldrT="[Text]" custT="1">
        <dgm:style>
          <a:lnRef idx="1">
            <a:schemeClr val="accent5"/>
          </a:lnRef>
          <a:fillRef idx="3">
            <a:schemeClr val="accent5"/>
          </a:fillRef>
          <a:effectRef idx="2">
            <a:schemeClr val="accent5"/>
          </a:effectRef>
          <a:fontRef idx="minor">
            <a:schemeClr val="lt1"/>
          </a:fontRef>
        </dgm:style>
      </dgm:prSet>
      <dgm:spPr>
        <a:solidFill>
          <a:srgbClr val="F79646"/>
        </a:solidFill>
        <a:ln>
          <a:solidFill>
            <a:srgbClr val="F79646"/>
          </a:solidFill>
        </a:ln>
      </dgm:spPr>
      <dgm:t>
        <a:bodyPr spcFirstLastPara="0" vert="horz" wrap="square" lIns="22860" tIns="17145" rIns="22860" bIns="17145" numCol="1" spcCol="1270" anchor="ctr" anchorCtr="0"/>
        <a:lstStyle/>
        <a:p>
          <a:pPr>
            <a:buNone/>
          </a:pPr>
          <a:r>
            <a:rPr lang="en-US" sz="1400" b="1" dirty="0">
              <a:solidFill>
                <a:schemeClr val="tx1"/>
              </a:solidFill>
              <a:latin typeface="Calibri"/>
              <a:ea typeface="+mn-ea"/>
              <a:cs typeface="+mn-cs"/>
            </a:rPr>
            <a:t>Asset</a:t>
          </a:r>
          <a:r>
            <a:rPr lang="en-US" sz="1400" b="1" dirty="0">
              <a:solidFill>
                <a:srgbClr val="1F497D"/>
              </a:solidFill>
              <a:latin typeface="Calibri"/>
              <a:ea typeface="+mn-ea"/>
              <a:cs typeface="+mn-cs"/>
            </a:rPr>
            <a:t> </a:t>
          </a:r>
          <a:r>
            <a:rPr lang="en-US" sz="1400" b="1" dirty="0">
              <a:solidFill>
                <a:schemeClr val="tx1"/>
              </a:solidFill>
              <a:latin typeface="Calibri"/>
              <a:ea typeface="+mn-ea"/>
              <a:cs typeface="+mn-cs"/>
            </a:rPr>
            <a:t>Management</a:t>
          </a:r>
          <a:r>
            <a:rPr lang="en-US" sz="1400" b="1" dirty="0">
              <a:solidFill>
                <a:srgbClr val="1F497D"/>
              </a:solidFill>
              <a:latin typeface="Calibri"/>
              <a:ea typeface="+mn-ea"/>
              <a:cs typeface="+mn-cs"/>
            </a:rPr>
            <a:t> </a:t>
          </a:r>
        </a:p>
      </dgm:t>
    </dgm:pt>
    <dgm:pt modelId="{5B1C87F8-5A68-4AC0-8DA4-B67C3AE75EAD}" type="parTrans" cxnId="{50A54798-17AC-4E3A-B7F8-D5A48CE15A15}">
      <dgm:prSet/>
      <dgm:spPr/>
      <dgm:t>
        <a:bodyPr/>
        <a:lstStyle/>
        <a:p>
          <a:endParaRPr lang="en-US" sz="2000"/>
        </a:p>
      </dgm:t>
    </dgm:pt>
    <dgm:pt modelId="{09603133-FE6A-4FB2-84DB-0062B92581FA}" type="sibTrans" cxnId="{50A54798-17AC-4E3A-B7F8-D5A48CE15A15}">
      <dgm:prSet/>
      <dgm:spPr/>
      <dgm:t>
        <a:bodyPr/>
        <a:lstStyle/>
        <a:p>
          <a:endParaRPr lang="en-US" sz="2000"/>
        </a:p>
      </dgm:t>
    </dgm:pt>
    <dgm:pt modelId="{5B2F2DC3-0029-47D8-9BAA-FECD267C405B}">
      <dgm:prSet phldrT="[Text]" custT="1">
        <dgm:style>
          <a:lnRef idx="1">
            <a:schemeClr val="accent4"/>
          </a:lnRef>
          <a:fillRef idx="3">
            <a:schemeClr val="accent4"/>
          </a:fillRef>
          <a:effectRef idx="2">
            <a:schemeClr val="accent4"/>
          </a:effectRef>
          <a:fontRef idx="minor">
            <a:schemeClr val="lt1"/>
          </a:fontRef>
        </dgm:style>
      </dgm:prSet>
      <dgm:spPr>
        <a:solidFill>
          <a:srgbClr val="F79646"/>
        </a:solidFill>
        <a:ln>
          <a:solidFill>
            <a:srgbClr val="F79646"/>
          </a:solidFill>
        </a:ln>
      </dgm:spPr>
      <dgm:t>
        <a:bodyPr spcFirstLastPara="0" vert="horz" wrap="square" lIns="25400" tIns="19050" rIns="25400" bIns="19050" numCol="1" spcCol="1270" anchor="ctr" anchorCtr="0"/>
        <a:lstStyle/>
        <a:p>
          <a:pPr>
            <a:buNone/>
          </a:pPr>
          <a:r>
            <a:rPr lang="en-US" sz="1800" b="1" dirty="0">
              <a:solidFill>
                <a:schemeClr val="tx1"/>
              </a:solidFill>
              <a:latin typeface="Calibri"/>
              <a:ea typeface="+mn-ea"/>
              <a:cs typeface="+mn-cs"/>
            </a:rPr>
            <a:t>Asset</a:t>
          </a:r>
          <a:r>
            <a:rPr lang="en-US" sz="1800" b="1" dirty="0">
              <a:solidFill>
                <a:prstClr val="white"/>
              </a:solidFill>
              <a:latin typeface="Calibri"/>
              <a:ea typeface="+mn-ea"/>
              <a:cs typeface="+mn-cs"/>
            </a:rPr>
            <a:t> </a:t>
          </a:r>
          <a:r>
            <a:rPr lang="en-US" sz="1200" b="1" dirty="0">
              <a:solidFill>
                <a:schemeClr val="tx1"/>
              </a:solidFill>
              <a:latin typeface="Calibri"/>
              <a:ea typeface="+mn-ea"/>
              <a:cs typeface="+mn-cs"/>
            </a:rPr>
            <a:t>Management</a:t>
          </a:r>
          <a:endParaRPr lang="en-US" sz="1800" b="1" dirty="0">
            <a:solidFill>
              <a:schemeClr val="tx1"/>
            </a:solidFill>
            <a:latin typeface="Calibri"/>
            <a:ea typeface="+mn-ea"/>
            <a:cs typeface="+mn-cs"/>
          </a:endParaRPr>
        </a:p>
      </dgm:t>
    </dgm:pt>
    <dgm:pt modelId="{34FA2D3B-9283-438C-BFB6-F6260C1FA0D0}" type="parTrans" cxnId="{E562C69A-FB2C-4AC8-95AF-B1E33836C072}">
      <dgm:prSet/>
      <dgm:spPr/>
      <dgm:t>
        <a:bodyPr/>
        <a:lstStyle/>
        <a:p>
          <a:endParaRPr lang="en-US" sz="2000"/>
        </a:p>
      </dgm:t>
    </dgm:pt>
    <dgm:pt modelId="{45ECB974-925C-40F2-B137-B7C55F69F035}" type="sibTrans" cxnId="{E562C69A-FB2C-4AC8-95AF-B1E33836C072}">
      <dgm:prSet/>
      <dgm:spPr/>
      <dgm:t>
        <a:bodyPr/>
        <a:lstStyle/>
        <a:p>
          <a:endParaRPr lang="en-US" sz="2000"/>
        </a:p>
      </dgm:t>
    </dgm:pt>
    <dgm:pt modelId="{0342DB36-C4DD-44DC-B031-9C8DE049639A}">
      <dgm:prSet phldrT="[Text]" custT="1">
        <dgm:style>
          <a:lnRef idx="1">
            <a:schemeClr val="accent4"/>
          </a:lnRef>
          <a:fillRef idx="3">
            <a:schemeClr val="accent4"/>
          </a:fillRef>
          <a:effectRef idx="2">
            <a:schemeClr val="accent4"/>
          </a:effectRef>
          <a:fontRef idx="minor">
            <a:schemeClr val="lt1"/>
          </a:fontRef>
        </dgm:style>
      </dgm:prSet>
      <dgm:spPr>
        <a:solidFill>
          <a:srgbClr val="F79646"/>
        </a:solidFill>
        <a:ln>
          <a:solidFill>
            <a:srgbClr val="F79646"/>
          </a:solidFill>
        </a:ln>
      </dgm:spPr>
      <dgm:t>
        <a:bodyPr spcFirstLastPara="0" vert="horz" wrap="square" lIns="25400" tIns="19050" rIns="25400" bIns="19050" numCol="1" spcCol="1270" anchor="ctr" anchorCtr="0"/>
        <a:lstStyle/>
        <a:p>
          <a:pPr>
            <a:buNone/>
          </a:pPr>
          <a:r>
            <a:rPr lang="en-US" sz="1400" b="1" dirty="0">
              <a:solidFill>
                <a:schemeClr val="tx1"/>
              </a:solidFill>
              <a:latin typeface="Calibri"/>
              <a:ea typeface="+mn-ea"/>
              <a:cs typeface="+mn-cs"/>
            </a:rPr>
            <a:t>Asset</a:t>
          </a:r>
          <a:r>
            <a:rPr lang="en-US" sz="1400" b="1" dirty="0">
              <a:solidFill>
                <a:prstClr val="white"/>
              </a:solidFill>
              <a:latin typeface="Calibri"/>
              <a:ea typeface="+mn-ea"/>
              <a:cs typeface="+mn-cs"/>
            </a:rPr>
            <a:t> </a:t>
          </a:r>
          <a:r>
            <a:rPr lang="en-US" sz="1400" b="1" dirty="0">
              <a:solidFill>
                <a:schemeClr val="tx1"/>
              </a:solidFill>
              <a:latin typeface="Calibri"/>
              <a:ea typeface="+mn-ea"/>
              <a:cs typeface="+mn-cs"/>
            </a:rPr>
            <a:t>Management</a:t>
          </a:r>
        </a:p>
      </dgm:t>
    </dgm:pt>
    <dgm:pt modelId="{0C356851-E5C8-4D95-A06E-8F8798A7E6E4}" type="parTrans" cxnId="{0C4A6D39-B1D7-423C-8E11-C9B42CD176E7}">
      <dgm:prSet/>
      <dgm:spPr/>
      <dgm:t>
        <a:bodyPr/>
        <a:lstStyle/>
        <a:p>
          <a:endParaRPr lang="en-US" sz="2000"/>
        </a:p>
      </dgm:t>
    </dgm:pt>
    <dgm:pt modelId="{F7A74E6B-0A37-419A-8F0C-55843A16CBBF}" type="sibTrans" cxnId="{0C4A6D39-B1D7-423C-8E11-C9B42CD176E7}">
      <dgm:prSet/>
      <dgm:spPr/>
      <dgm:t>
        <a:bodyPr/>
        <a:lstStyle/>
        <a:p>
          <a:endParaRPr lang="en-US" sz="2000"/>
        </a:p>
      </dgm:t>
    </dgm:pt>
    <dgm:pt modelId="{F752FE16-A4F7-8A46-BCB9-A8A7705EC0E9}" type="pres">
      <dgm:prSet presAssocID="{83F30878-DADD-A043-93AF-7CDA69F6516E}" presName="theList" presStyleCnt="0">
        <dgm:presLayoutVars>
          <dgm:dir/>
          <dgm:animLvl val="lvl"/>
          <dgm:resizeHandles val="exact"/>
        </dgm:presLayoutVars>
      </dgm:prSet>
      <dgm:spPr/>
      <dgm:t>
        <a:bodyPr/>
        <a:lstStyle/>
        <a:p>
          <a:endParaRPr lang="en-ZA"/>
        </a:p>
      </dgm:t>
    </dgm:pt>
    <dgm:pt modelId="{667E39DD-A00E-F845-8C63-AA4C78B3EADF}" type="pres">
      <dgm:prSet presAssocID="{F6FC6DA0-B75D-2A44-A904-B76F8BB751A9}" presName="compNode" presStyleCnt="0"/>
      <dgm:spPr/>
    </dgm:pt>
    <dgm:pt modelId="{BAF7CD8D-D80B-5A48-A349-2DF9761E7B8D}" type="pres">
      <dgm:prSet presAssocID="{F6FC6DA0-B75D-2A44-A904-B76F8BB751A9}" presName="aNode" presStyleLbl="bgShp" presStyleIdx="0" presStyleCnt="8"/>
      <dgm:spPr/>
      <dgm:t>
        <a:bodyPr/>
        <a:lstStyle/>
        <a:p>
          <a:endParaRPr lang="en-ZA"/>
        </a:p>
      </dgm:t>
    </dgm:pt>
    <dgm:pt modelId="{5384C1C0-904D-AB45-959C-DE342C71302F}" type="pres">
      <dgm:prSet presAssocID="{F6FC6DA0-B75D-2A44-A904-B76F8BB751A9}" presName="textNode" presStyleLbl="bgShp" presStyleIdx="0" presStyleCnt="8"/>
      <dgm:spPr/>
      <dgm:t>
        <a:bodyPr/>
        <a:lstStyle/>
        <a:p>
          <a:endParaRPr lang="en-ZA"/>
        </a:p>
      </dgm:t>
    </dgm:pt>
    <dgm:pt modelId="{4D4A2558-ED61-1447-8DA4-660B01877DE7}" type="pres">
      <dgm:prSet presAssocID="{F6FC6DA0-B75D-2A44-A904-B76F8BB751A9}" presName="compChildNode" presStyleCnt="0"/>
      <dgm:spPr/>
    </dgm:pt>
    <dgm:pt modelId="{EA7F8131-E619-8447-8C3D-FF30D45EDB4F}" type="pres">
      <dgm:prSet presAssocID="{F6FC6DA0-B75D-2A44-A904-B76F8BB751A9}" presName="theInnerList" presStyleCnt="0"/>
      <dgm:spPr/>
    </dgm:pt>
    <dgm:pt modelId="{F7B96694-72B7-1C43-AB96-15C2E32879A9}" type="pres">
      <dgm:prSet presAssocID="{19FB9CE9-7153-D14C-9C08-AA7F623350D7}" presName="childNode" presStyleLbl="node1" presStyleIdx="0" presStyleCnt="19">
        <dgm:presLayoutVars>
          <dgm:bulletEnabled val="1"/>
        </dgm:presLayoutVars>
      </dgm:prSet>
      <dgm:spPr>
        <a:xfrm>
          <a:off x="105323" y="629146"/>
          <a:ext cx="808883" cy="1363151"/>
        </a:xfrm>
        <a:prstGeom prst="roundRect">
          <a:avLst>
            <a:gd name="adj" fmla="val 10000"/>
          </a:avLst>
        </a:prstGeom>
      </dgm:spPr>
      <dgm:t>
        <a:bodyPr/>
        <a:lstStyle/>
        <a:p>
          <a:endParaRPr lang="en-ZA"/>
        </a:p>
      </dgm:t>
    </dgm:pt>
    <dgm:pt modelId="{FF255F95-8870-1F45-8346-36B6C33A96C0}" type="pres">
      <dgm:prSet presAssocID="{19FB9CE9-7153-D14C-9C08-AA7F623350D7}" presName="aSpace2" presStyleCnt="0"/>
      <dgm:spPr/>
    </dgm:pt>
    <dgm:pt modelId="{B794C6EF-8EB0-F642-ABCD-7DED20C213D3}" type="pres">
      <dgm:prSet presAssocID="{B11DD8C3-A36C-6741-87E7-879FB1C0E6BD}" presName="childNode" presStyleLbl="node1" presStyleIdx="1" presStyleCnt="19">
        <dgm:presLayoutVars>
          <dgm:bulletEnabled val="1"/>
        </dgm:presLayoutVars>
      </dgm:prSet>
      <dgm:spPr>
        <a:xfrm>
          <a:off x="105323" y="1359362"/>
          <a:ext cx="808883" cy="632321"/>
        </a:xfrm>
        <a:prstGeom prst="roundRect">
          <a:avLst>
            <a:gd name="adj" fmla="val 10000"/>
          </a:avLst>
        </a:prstGeom>
      </dgm:spPr>
      <dgm:t>
        <a:bodyPr/>
        <a:lstStyle/>
        <a:p>
          <a:endParaRPr lang="en-ZA"/>
        </a:p>
      </dgm:t>
    </dgm:pt>
    <dgm:pt modelId="{6205D592-D983-4E48-87C0-EC26F13C3F8A}" type="pres">
      <dgm:prSet presAssocID="{B11DD8C3-A36C-6741-87E7-879FB1C0E6BD}" presName="aSpace2" presStyleCnt="0"/>
      <dgm:spPr/>
    </dgm:pt>
    <dgm:pt modelId="{AE126BDF-C1D6-4761-B4F4-49A145A0DD18}" type="pres">
      <dgm:prSet presAssocID="{C1177BB5-5449-46D6-9F42-4653B71C4DB6}" presName="childNode" presStyleLbl="node1" presStyleIdx="2" presStyleCnt="19" custScaleX="122647">
        <dgm:presLayoutVars>
          <dgm:bulletEnabled val="1"/>
        </dgm:presLayoutVars>
      </dgm:prSet>
      <dgm:spPr>
        <a:prstGeom prst="roundRect">
          <a:avLst>
            <a:gd name="adj" fmla="val 10000"/>
          </a:avLst>
        </a:prstGeom>
      </dgm:spPr>
      <dgm:t>
        <a:bodyPr/>
        <a:lstStyle/>
        <a:p>
          <a:endParaRPr lang="en-ZA"/>
        </a:p>
      </dgm:t>
    </dgm:pt>
    <dgm:pt modelId="{46B0212D-7876-9641-A02F-142EC21E381B}" type="pres">
      <dgm:prSet presAssocID="{F6FC6DA0-B75D-2A44-A904-B76F8BB751A9}" presName="aSpace" presStyleCnt="0"/>
      <dgm:spPr/>
    </dgm:pt>
    <dgm:pt modelId="{0F3E6A82-B458-C44D-A1C8-DF99E81C4BAC}" type="pres">
      <dgm:prSet presAssocID="{93EF0CDD-34B1-8442-81F5-EDE1E95BB3A7}" presName="compNode" presStyleCnt="0"/>
      <dgm:spPr/>
    </dgm:pt>
    <dgm:pt modelId="{CC062044-253D-B041-873A-47F609C9D092}" type="pres">
      <dgm:prSet presAssocID="{93EF0CDD-34B1-8442-81F5-EDE1E95BB3A7}" presName="aNode" presStyleLbl="bgShp" presStyleIdx="1" presStyleCnt="8"/>
      <dgm:spPr/>
      <dgm:t>
        <a:bodyPr/>
        <a:lstStyle/>
        <a:p>
          <a:endParaRPr lang="en-ZA"/>
        </a:p>
      </dgm:t>
    </dgm:pt>
    <dgm:pt modelId="{F3777994-D6B9-D34C-8C8D-8B5137278F47}" type="pres">
      <dgm:prSet presAssocID="{93EF0CDD-34B1-8442-81F5-EDE1E95BB3A7}" presName="textNode" presStyleLbl="bgShp" presStyleIdx="1" presStyleCnt="8"/>
      <dgm:spPr/>
      <dgm:t>
        <a:bodyPr/>
        <a:lstStyle/>
        <a:p>
          <a:endParaRPr lang="en-ZA"/>
        </a:p>
      </dgm:t>
    </dgm:pt>
    <dgm:pt modelId="{6C8098CB-84CB-6E4D-895D-763718EE1547}" type="pres">
      <dgm:prSet presAssocID="{93EF0CDD-34B1-8442-81F5-EDE1E95BB3A7}" presName="compChildNode" presStyleCnt="0"/>
      <dgm:spPr/>
    </dgm:pt>
    <dgm:pt modelId="{05CBBAF5-05F1-F349-A588-C73AEFAE1363}" type="pres">
      <dgm:prSet presAssocID="{93EF0CDD-34B1-8442-81F5-EDE1E95BB3A7}" presName="theInnerList" presStyleCnt="0"/>
      <dgm:spPr/>
    </dgm:pt>
    <dgm:pt modelId="{3B0DE46D-34C7-D548-92FA-B15FA4A63197}" type="pres">
      <dgm:prSet presAssocID="{A80C1399-967C-CA42-B0C7-1E8FF425E350}" presName="childNode" presStyleLbl="node1" presStyleIdx="3" presStyleCnt="19">
        <dgm:presLayoutVars>
          <dgm:bulletEnabled val="1"/>
        </dgm:presLayoutVars>
      </dgm:prSet>
      <dgm:spPr>
        <a:xfrm>
          <a:off x="1192261" y="1104718"/>
          <a:ext cx="808883" cy="412007"/>
        </a:xfrm>
        <a:prstGeom prst="roundRect">
          <a:avLst>
            <a:gd name="adj" fmla="val 10000"/>
          </a:avLst>
        </a:prstGeom>
      </dgm:spPr>
      <dgm:t>
        <a:bodyPr/>
        <a:lstStyle/>
        <a:p>
          <a:endParaRPr lang="en-ZA"/>
        </a:p>
      </dgm:t>
    </dgm:pt>
    <dgm:pt modelId="{EFBFBD0B-CDED-7247-9B10-F26DA5FF3A27}" type="pres">
      <dgm:prSet presAssocID="{A80C1399-967C-CA42-B0C7-1E8FF425E350}" presName="aSpace2" presStyleCnt="0"/>
      <dgm:spPr/>
    </dgm:pt>
    <dgm:pt modelId="{A90FEB2D-D9DC-2B47-8C01-DA838B68660D}" type="pres">
      <dgm:prSet presAssocID="{FC3F938D-B965-0043-BD9A-6B7C1E48D575}" presName="childNode" presStyleLbl="node1" presStyleIdx="4" presStyleCnt="19">
        <dgm:presLayoutVars>
          <dgm:bulletEnabled val="1"/>
        </dgm:presLayoutVars>
      </dgm:prSet>
      <dgm:spPr>
        <a:xfrm>
          <a:off x="1192261" y="1580111"/>
          <a:ext cx="808883" cy="412007"/>
        </a:xfrm>
        <a:prstGeom prst="roundRect">
          <a:avLst>
            <a:gd name="adj" fmla="val 10000"/>
          </a:avLst>
        </a:prstGeom>
      </dgm:spPr>
      <dgm:t>
        <a:bodyPr/>
        <a:lstStyle/>
        <a:p>
          <a:endParaRPr lang="en-ZA"/>
        </a:p>
      </dgm:t>
    </dgm:pt>
    <dgm:pt modelId="{6D3F3883-2192-477F-80D3-4D446D5731C6}" type="pres">
      <dgm:prSet presAssocID="{FC3F938D-B965-0043-BD9A-6B7C1E48D575}" presName="aSpace2" presStyleCnt="0"/>
      <dgm:spPr/>
    </dgm:pt>
    <dgm:pt modelId="{DD439577-A925-492F-A546-14A15855CD65}" type="pres">
      <dgm:prSet presAssocID="{3FD60BE2-B8FD-43F2-8C8C-9F1C434D9717}" presName="childNode" presStyleLbl="node1" presStyleIdx="5" presStyleCnt="19" custScaleX="124894">
        <dgm:presLayoutVars>
          <dgm:bulletEnabled val="1"/>
        </dgm:presLayoutVars>
      </dgm:prSet>
      <dgm:spPr>
        <a:prstGeom prst="roundRect">
          <a:avLst>
            <a:gd name="adj" fmla="val 10000"/>
          </a:avLst>
        </a:prstGeom>
      </dgm:spPr>
      <dgm:t>
        <a:bodyPr/>
        <a:lstStyle/>
        <a:p>
          <a:endParaRPr lang="en-ZA"/>
        </a:p>
      </dgm:t>
    </dgm:pt>
    <dgm:pt modelId="{A254892C-18FD-BC4B-98CE-21E3A7F4F074}" type="pres">
      <dgm:prSet presAssocID="{93EF0CDD-34B1-8442-81F5-EDE1E95BB3A7}" presName="aSpace" presStyleCnt="0"/>
      <dgm:spPr/>
    </dgm:pt>
    <dgm:pt modelId="{848ADD16-6342-8544-A17B-B228EC4FD754}" type="pres">
      <dgm:prSet presAssocID="{655332C2-973D-9949-9D0F-F2A3198EAA6A}" presName="compNode" presStyleCnt="0"/>
      <dgm:spPr/>
    </dgm:pt>
    <dgm:pt modelId="{12A82E8D-E0C0-F446-9677-07106AD831A9}" type="pres">
      <dgm:prSet presAssocID="{655332C2-973D-9949-9D0F-F2A3198EAA6A}" presName="aNode" presStyleLbl="bgShp" presStyleIdx="2" presStyleCnt="8"/>
      <dgm:spPr/>
      <dgm:t>
        <a:bodyPr/>
        <a:lstStyle/>
        <a:p>
          <a:endParaRPr lang="en-ZA"/>
        </a:p>
      </dgm:t>
    </dgm:pt>
    <dgm:pt modelId="{5A26A289-5CC1-7343-A13E-474C0B94CA4D}" type="pres">
      <dgm:prSet presAssocID="{655332C2-973D-9949-9D0F-F2A3198EAA6A}" presName="textNode" presStyleLbl="bgShp" presStyleIdx="2" presStyleCnt="8"/>
      <dgm:spPr/>
      <dgm:t>
        <a:bodyPr/>
        <a:lstStyle/>
        <a:p>
          <a:endParaRPr lang="en-ZA"/>
        </a:p>
      </dgm:t>
    </dgm:pt>
    <dgm:pt modelId="{E7EE7740-5643-4C4D-A4D4-A45334AAB7F5}" type="pres">
      <dgm:prSet presAssocID="{655332C2-973D-9949-9D0F-F2A3198EAA6A}" presName="compChildNode" presStyleCnt="0"/>
      <dgm:spPr/>
    </dgm:pt>
    <dgm:pt modelId="{97E1C3D1-F066-DB47-B7C3-53BA889A5FAD}" type="pres">
      <dgm:prSet presAssocID="{655332C2-973D-9949-9D0F-F2A3198EAA6A}" presName="theInnerList" presStyleCnt="0"/>
      <dgm:spPr/>
    </dgm:pt>
    <dgm:pt modelId="{0BD4D830-0612-9344-AB1A-F53D0CB588A6}" type="pres">
      <dgm:prSet presAssocID="{AFEF2BA1-F655-3049-825C-6B8AE4607AAD}" presName="childNode" presStyleLbl="node1" presStyleIdx="6" presStyleCnt="19" custScaleX="113366">
        <dgm:presLayoutVars>
          <dgm:bulletEnabled val="1"/>
        </dgm:presLayoutVars>
      </dgm:prSet>
      <dgm:spPr/>
      <dgm:t>
        <a:bodyPr/>
        <a:lstStyle/>
        <a:p>
          <a:endParaRPr lang="en-ZA"/>
        </a:p>
      </dgm:t>
    </dgm:pt>
    <dgm:pt modelId="{58C6BE49-1993-5040-B084-29E0AA426A18}" type="pres">
      <dgm:prSet presAssocID="{655332C2-973D-9949-9D0F-F2A3198EAA6A}" presName="aSpace" presStyleCnt="0"/>
      <dgm:spPr/>
    </dgm:pt>
    <dgm:pt modelId="{2C9523A1-B1E3-9F4E-97A2-F66707D45A9D}" type="pres">
      <dgm:prSet presAssocID="{517B3F3C-3F41-0147-9901-306775595F16}" presName="compNode" presStyleCnt="0"/>
      <dgm:spPr/>
    </dgm:pt>
    <dgm:pt modelId="{B5568226-AE69-B649-A819-95F4F2365CB9}" type="pres">
      <dgm:prSet presAssocID="{517B3F3C-3F41-0147-9901-306775595F16}" presName="aNode" presStyleLbl="bgShp" presStyleIdx="3" presStyleCnt="8"/>
      <dgm:spPr/>
      <dgm:t>
        <a:bodyPr/>
        <a:lstStyle/>
        <a:p>
          <a:endParaRPr lang="en-ZA"/>
        </a:p>
      </dgm:t>
    </dgm:pt>
    <dgm:pt modelId="{F493A532-08E0-1144-B3E3-97BE05A16048}" type="pres">
      <dgm:prSet presAssocID="{517B3F3C-3F41-0147-9901-306775595F16}" presName="textNode" presStyleLbl="bgShp" presStyleIdx="3" presStyleCnt="8"/>
      <dgm:spPr/>
      <dgm:t>
        <a:bodyPr/>
        <a:lstStyle/>
        <a:p>
          <a:endParaRPr lang="en-ZA"/>
        </a:p>
      </dgm:t>
    </dgm:pt>
    <dgm:pt modelId="{364343C3-B617-9346-9E79-8B19DD90CFB0}" type="pres">
      <dgm:prSet presAssocID="{517B3F3C-3F41-0147-9901-306775595F16}" presName="compChildNode" presStyleCnt="0"/>
      <dgm:spPr/>
    </dgm:pt>
    <dgm:pt modelId="{6B730DFA-2A34-A440-ABD5-5E94B0183D56}" type="pres">
      <dgm:prSet presAssocID="{517B3F3C-3F41-0147-9901-306775595F16}" presName="theInnerList" presStyleCnt="0"/>
      <dgm:spPr/>
    </dgm:pt>
    <dgm:pt modelId="{DD42BD83-C17C-2A45-9DAC-098C16706304}" type="pres">
      <dgm:prSet presAssocID="{456925A2-304C-1340-B163-E2672C88345A}" presName="childNode" presStyleLbl="node1" presStyleIdx="7" presStyleCnt="19">
        <dgm:presLayoutVars>
          <dgm:bulletEnabled val="1"/>
        </dgm:presLayoutVars>
      </dgm:prSet>
      <dgm:spPr>
        <a:xfrm>
          <a:off x="3366136" y="629146"/>
          <a:ext cx="808883" cy="1363151"/>
        </a:xfrm>
        <a:prstGeom prst="roundRect">
          <a:avLst>
            <a:gd name="adj" fmla="val 10000"/>
          </a:avLst>
        </a:prstGeom>
      </dgm:spPr>
      <dgm:t>
        <a:bodyPr/>
        <a:lstStyle/>
        <a:p>
          <a:endParaRPr lang="en-ZA"/>
        </a:p>
      </dgm:t>
    </dgm:pt>
    <dgm:pt modelId="{CE22AFC1-45A2-9A45-8EB3-3799D30EA66C}" type="pres">
      <dgm:prSet presAssocID="{456925A2-304C-1340-B163-E2672C88345A}" presName="aSpace2" presStyleCnt="0"/>
      <dgm:spPr/>
    </dgm:pt>
    <dgm:pt modelId="{7D457997-BF0D-EE4F-A021-1E05F7BB04D7}" type="pres">
      <dgm:prSet presAssocID="{8E94A4DE-313D-104F-9A6D-6294EA969210}" presName="childNode" presStyleLbl="node1" presStyleIdx="8" presStyleCnt="19">
        <dgm:presLayoutVars>
          <dgm:bulletEnabled val="1"/>
        </dgm:presLayoutVars>
      </dgm:prSet>
      <dgm:spPr>
        <a:xfrm>
          <a:off x="3366136" y="1359362"/>
          <a:ext cx="808883" cy="632321"/>
        </a:xfrm>
        <a:prstGeom prst="roundRect">
          <a:avLst>
            <a:gd name="adj" fmla="val 10000"/>
          </a:avLst>
        </a:prstGeom>
      </dgm:spPr>
      <dgm:t>
        <a:bodyPr/>
        <a:lstStyle/>
        <a:p>
          <a:endParaRPr lang="en-ZA"/>
        </a:p>
      </dgm:t>
    </dgm:pt>
    <dgm:pt modelId="{4D0EA396-8EDD-B946-A6F7-FD9AF4DAAF4F}" type="pres">
      <dgm:prSet presAssocID="{517B3F3C-3F41-0147-9901-306775595F16}" presName="aSpace" presStyleCnt="0"/>
      <dgm:spPr/>
    </dgm:pt>
    <dgm:pt modelId="{6DAFE7F3-0992-594A-9B0F-D4EA15EA486B}" type="pres">
      <dgm:prSet presAssocID="{746DB36A-3B65-A145-B478-9FD18AB44706}" presName="compNode" presStyleCnt="0"/>
      <dgm:spPr/>
    </dgm:pt>
    <dgm:pt modelId="{E51D7272-E701-B047-B3D3-EF8720A57B3B}" type="pres">
      <dgm:prSet presAssocID="{746DB36A-3B65-A145-B478-9FD18AB44706}" presName="aNode" presStyleLbl="bgShp" presStyleIdx="4" presStyleCnt="8" custLinFactNeighborX="-3061" custLinFactNeighborY="1498"/>
      <dgm:spPr/>
      <dgm:t>
        <a:bodyPr/>
        <a:lstStyle/>
        <a:p>
          <a:endParaRPr lang="en-ZA"/>
        </a:p>
      </dgm:t>
    </dgm:pt>
    <dgm:pt modelId="{648B5148-6FC9-814B-A26C-80175D9A233C}" type="pres">
      <dgm:prSet presAssocID="{746DB36A-3B65-A145-B478-9FD18AB44706}" presName="textNode" presStyleLbl="bgShp" presStyleIdx="4" presStyleCnt="8"/>
      <dgm:spPr/>
      <dgm:t>
        <a:bodyPr/>
        <a:lstStyle/>
        <a:p>
          <a:endParaRPr lang="en-ZA"/>
        </a:p>
      </dgm:t>
    </dgm:pt>
    <dgm:pt modelId="{071BB566-09F7-FE48-94CD-E3C7BCC3BA7A}" type="pres">
      <dgm:prSet presAssocID="{746DB36A-3B65-A145-B478-9FD18AB44706}" presName="compChildNode" presStyleCnt="0"/>
      <dgm:spPr/>
    </dgm:pt>
    <dgm:pt modelId="{C632247B-67AD-F24A-BE94-54ECAAB84CAF}" type="pres">
      <dgm:prSet presAssocID="{746DB36A-3B65-A145-B478-9FD18AB44706}" presName="theInnerList" presStyleCnt="0"/>
      <dgm:spPr/>
    </dgm:pt>
    <dgm:pt modelId="{44E222EB-8D0F-3343-B35C-BC422DB4612B}" type="pres">
      <dgm:prSet presAssocID="{3AFA62F7-6C36-B843-9335-1C46726B8C73}" presName="childNode" presStyleLbl="node1" presStyleIdx="9" presStyleCnt="19">
        <dgm:presLayoutVars>
          <dgm:bulletEnabled val="1"/>
        </dgm:presLayoutVars>
      </dgm:prSet>
      <dgm:spPr>
        <a:xfrm>
          <a:off x="4453074" y="629146"/>
          <a:ext cx="808883" cy="1363151"/>
        </a:xfrm>
        <a:prstGeom prst="roundRect">
          <a:avLst>
            <a:gd name="adj" fmla="val 10000"/>
          </a:avLst>
        </a:prstGeom>
      </dgm:spPr>
      <dgm:t>
        <a:bodyPr/>
        <a:lstStyle/>
        <a:p>
          <a:endParaRPr lang="en-ZA"/>
        </a:p>
      </dgm:t>
    </dgm:pt>
    <dgm:pt modelId="{04032A40-170C-4D85-9C61-59A5ECB51561}" type="pres">
      <dgm:prSet presAssocID="{3AFA62F7-6C36-B843-9335-1C46726B8C73}" presName="aSpace2" presStyleCnt="0"/>
      <dgm:spPr/>
    </dgm:pt>
    <dgm:pt modelId="{64449E7D-C6FE-475F-83D1-3E131557A18D}" type="pres">
      <dgm:prSet presAssocID="{5B2F2DC3-0029-47D8-9BAA-FECD267C405B}" presName="childNode" presStyleLbl="node1" presStyleIdx="10" presStyleCnt="19">
        <dgm:presLayoutVars>
          <dgm:bulletEnabled val="1"/>
        </dgm:presLayoutVars>
      </dgm:prSet>
      <dgm:spPr>
        <a:prstGeom prst="roundRect">
          <a:avLst>
            <a:gd name="adj" fmla="val 10000"/>
          </a:avLst>
        </a:prstGeom>
      </dgm:spPr>
      <dgm:t>
        <a:bodyPr/>
        <a:lstStyle/>
        <a:p>
          <a:endParaRPr lang="en-ZA"/>
        </a:p>
      </dgm:t>
    </dgm:pt>
    <dgm:pt modelId="{EC1E37FE-78ED-B348-961D-2C53B7ED5D24}" type="pres">
      <dgm:prSet presAssocID="{746DB36A-3B65-A145-B478-9FD18AB44706}" presName="aSpace" presStyleCnt="0"/>
      <dgm:spPr/>
    </dgm:pt>
    <dgm:pt modelId="{FE45AB29-86BB-B945-BC32-4ABE2F8C1CFF}" type="pres">
      <dgm:prSet presAssocID="{925F08FB-13DB-6E45-BF00-BAEA61191BA4}" presName="compNode" presStyleCnt="0"/>
      <dgm:spPr/>
    </dgm:pt>
    <dgm:pt modelId="{E9843257-88A4-A74E-B77F-944E0F51F2D3}" type="pres">
      <dgm:prSet presAssocID="{925F08FB-13DB-6E45-BF00-BAEA61191BA4}" presName="aNode" presStyleLbl="bgShp" presStyleIdx="5" presStyleCnt="8" custLinFactNeighborY="1498"/>
      <dgm:spPr/>
      <dgm:t>
        <a:bodyPr/>
        <a:lstStyle/>
        <a:p>
          <a:endParaRPr lang="en-ZA"/>
        </a:p>
      </dgm:t>
    </dgm:pt>
    <dgm:pt modelId="{EF0FEB73-635A-8442-8DF6-1356D2CAD597}" type="pres">
      <dgm:prSet presAssocID="{925F08FB-13DB-6E45-BF00-BAEA61191BA4}" presName="textNode" presStyleLbl="bgShp" presStyleIdx="5" presStyleCnt="8"/>
      <dgm:spPr/>
      <dgm:t>
        <a:bodyPr/>
        <a:lstStyle/>
        <a:p>
          <a:endParaRPr lang="en-ZA"/>
        </a:p>
      </dgm:t>
    </dgm:pt>
    <dgm:pt modelId="{07BD2CA6-1B5E-2143-8E69-23BF8DD0A5E8}" type="pres">
      <dgm:prSet presAssocID="{925F08FB-13DB-6E45-BF00-BAEA61191BA4}" presName="compChildNode" presStyleCnt="0"/>
      <dgm:spPr/>
    </dgm:pt>
    <dgm:pt modelId="{5F5C2AD4-440A-FF44-A9AC-FDE65AD73D73}" type="pres">
      <dgm:prSet presAssocID="{925F08FB-13DB-6E45-BF00-BAEA61191BA4}" presName="theInnerList" presStyleCnt="0"/>
      <dgm:spPr/>
    </dgm:pt>
    <dgm:pt modelId="{CBAFA610-556B-7E44-93A8-B05B1C8A0D0A}" type="pres">
      <dgm:prSet presAssocID="{1D491BF6-3F84-904F-8244-C0A93BDDCF12}" presName="childNode" presStyleLbl="node1" presStyleIdx="11" presStyleCnt="19">
        <dgm:presLayoutVars>
          <dgm:bulletEnabled val="1"/>
        </dgm:presLayoutVars>
      </dgm:prSet>
      <dgm:spPr/>
      <dgm:t>
        <a:bodyPr/>
        <a:lstStyle/>
        <a:p>
          <a:endParaRPr lang="en-ZA"/>
        </a:p>
      </dgm:t>
    </dgm:pt>
    <dgm:pt modelId="{EA5E3273-E5E5-8344-BD81-306BF1B98087}" type="pres">
      <dgm:prSet presAssocID="{925F08FB-13DB-6E45-BF00-BAEA61191BA4}" presName="aSpace" presStyleCnt="0"/>
      <dgm:spPr/>
    </dgm:pt>
    <dgm:pt modelId="{B4750885-A58F-9041-AAC9-9DE5A50CF668}" type="pres">
      <dgm:prSet presAssocID="{BF90A0EF-C6B2-7747-AC09-AA37BA5358F6}" presName="compNode" presStyleCnt="0"/>
      <dgm:spPr/>
    </dgm:pt>
    <dgm:pt modelId="{AB794DF4-106E-C24E-9AE8-14A804097BC6}" type="pres">
      <dgm:prSet presAssocID="{BF90A0EF-C6B2-7747-AC09-AA37BA5358F6}" presName="aNode" presStyleLbl="bgShp" presStyleIdx="6" presStyleCnt="8"/>
      <dgm:spPr/>
      <dgm:t>
        <a:bodyPr/>
        <a:lstStyle/>
        <a:p>
          <a:endParaRPr lang="en-ZA"/>
        </a:p>
      </dgm:t>
    </dgm:pt>
    <dgm:pt modelId="{8BBF9131-15D6-1045-8366-E80F397F88D9}" type="pres">
      <dgm:prSet presAssocID="{BF90A0EF-C6B2-7747-AC09-AA37BA5358F6}" presName="textNode" presStyleLbl="bgShp" presStyleIdx="6" presStyleCnt="8"/>
      <dgm:spPr/>
      <dgm:t>
        <a:bodyPr/>
        <a:lstStyle/>
        <a:p>
          <a:endParaRPr lang="en-ZA"/>
        </a:p>
      </dgm:t>
    </dgm:pt>
    <dgm:pt modelId="{8CD70EA7-92C2-F44A-8111-E7592DB484F0}" type="pres">
      <dgm:prSet presAssocID="{BF90A0EF-C6B2-7747-AC09-AA37BA5358F6}" presName="compChildNode" presStyleCnt="0"/>
      <dgm:spPr/>
    </dgm:pt>
    <dgm:pt modelId="{3987224E-29A0-F54D-918E-8D46A0451FA6}" type="pres">
      <dgm:prSet presAssocID="{BF90A0EF-C6B2-7747-AC09-AA37BA5358F6}" presName="theInnerList" presStyleCnt="0"/>
      <dgm:spPr/>
    </dgm:pt>
    <dgm:pt modelId="{AB7F4627-C70C-C348-B8BA-3FEDC730F870}" type="pres">
      <dgm:prSet presAssocID="{56A4C093-741A-2644-97C6-D076C01BC217}" presName="childNode" presStyleLbl="node1" presStyleIdx="12" presStyleCnt="19">
        <dgm:presLayoutVars>
          <dgm:bulletEnabled val="1"/>
        </dgm:presLayoutVars>
      </dgm:prSet>
      <dgm:spPr>
        <a:xfrm>
          <a:off x="6626949" y="629543"/>
          <a:ext cx="808883" cy="242611"/>
        </a:xfrm>
        <a:prstGeom prst="roundRect">
          <a:avLst>
            <a:gd name="adj" fmla="val 10000"/>
          </a:avLst>
        </a:prstGeom>
      </dgm:spPr>
      <dgm:t>
        <a:bodyPr/>
        <a:lstStyle/>
        <a:p>
          <a:endParaRPr lang="en-ZA"/>
        </a:p>
      </dgm:t>
    </dgm:pt>
    <dgm:pt modelId="{874C50FF-413F-A94A-8D51-A2849EC50B45}" type="pres">
      <dgm:prSet presAssocID="{56A4C093-741A-2644-97C6-D076C01BC217}" presName="aSpace2" presStyleCnt="0"/>
      <dgm:spPr/>
    </dgm:pt>
    <dgm:pt modelId="{3FEC3199-2718-794C-B7B1-85E47155598A}" type="pres">
      <dgm:prSet presAssocID="{0D678627-7AD7-5449-B9C6-466BA6706972}" presName="childNode" presStyleLbl="node1" presStyleIdx="13" presStyleCnt="19">
        <dgm:presLayoutVars>
          <dgm:bulletEnabled val="1"/>
        </dgm:presLayoutVars>
      </dgm:prSet>
      <dgm:spPr>
        <a:xfrm>
          <a:off x="6626949" y="909480"/>
          <a:ext cx="808883" cy="242611"/>
        </a:xfrm>
        <a:prstGeom prst="roundRect">
          <a:avLst>
            <a:gd name="adj" fmla="val 10000"/>
          </a:avLst>
        </a:prstGeom>
      </dgm:spPr>
      <dgm:t>
        <a:bodyPr/>
        <a:lstStyle/>
        <a:p>
          <a:endParaRPr lang="en-ZA"/>
        </a:p>
      </dgm:t>
    </dgm:pt>
    <dgm:pt modelId="{CA84D58C-6C63-4944-B756-F84C763C0599}" type="pres">
      <dgm:prSet presAssocID="{0D678627-7AD7-5449-B9C6-466BA6706972}" presName="aSpace2" presStyleCnt="0"/>
      <dgm:spPr/>
    </dgm:pt>
    <dgm:pt modelId="{A20B97CC-39F9-394B-8805-D6B14FEE6DF5}" type="pres">
      <dgm:prSet presAssocID="{979A1641-9568-E14C-8EEE-277DE852EB7C}" presName="childNode" presStyleLbl="node1" presStyleIdx="14" presStyleCnt="19">
        <dgm:presLayoutVars>
          <dgm:bulletEnabled val="1"/>
        </dgm:presLayoutVars>
      </dgm:prSet>
      <dgm:spPr>
        <a:xfrm>
          <a:off x="6626949" y="1189416"/>
          <a:ext cx="808883" cy="242611"/>
        </a:xfrm>
        <a:prstGeom prst="roundRect">
          <a:avLst>
            <a:gd name="adj" fmla="val 10000"/>
          </a:avLst>
        </a:prstGeom>
      </dgm:spPr>
      <dgm:t>
        <a:bodyPr/>
        <a:lstStyle/>
        <a:p>
          <a:endParaRPr lang="en-ZA"/>
        </a:p>
      </dgm:t>
    </dgm:pt>
    <dgm:pt modelId="{78ADF2B3-ED02-FE4D-A390-B44179E61FC8}" type="pres">
      <dgm:prSet presAssocID="{979A1641-9568-E14C-8EEE-277DE852EB7C}" presName="aSpace2" presStyleCnt="0"/>
      <dgm:spPr/>
    </dgm:pt>
    <dgm:pt modelId="{BC5D1FD1-CB45-9542-A702-DFB03ECAE047}" type="pres">
      <dgm:prSet presAssocID="{38993182-B43F-4C44-A711-34BFAC4840D7}" presName="childNode" presStyleLbl="node1" presStyleIdx="15" presStyleCnt="19">
        <dgm:presLayoutVars>
          <dgm:bulletEnabled val="1"/>
        </dgm:presLayoutVars>
      </dgm:prSet>
      <dgm:spPr>
        <a:xfrm>
          <a:off x="6626949" y="1469353"/>
          <a:ext cx="808883" cy="242611"/>
        </a:xfrm>
        <a:prstGeom prst="roundRect">
          <a:avLst>
            <a:gd name="adj" fmla="val 10000"/>
          </a:avLst>
        </a:prstGeom>
      </dgm:spPr>
      <dgm:t>
        <a:bodyPr/>
        <a:lstStyle/>
        <a:p>
          <a:endParaRPr lang="en-ZA"/>
        </a:p>
      </dgm:t>
    </dgm:pt>
    <dgm:pt modelId="{21FF0EE3-FAC8-E24B-A162-0748B9D0A6D2}" type="pres">
      <dgm:prSet presAssocID="{38993182-B43F-4C44-A711-34BFAC4840D7}" presName="aSpace2" presStyleCnt="0"/>
      <dgm:spPr/>
    </dgm:pt>
    <dgm:pt modelId="{6F27F464-DEA2-F946-9AB1-ACC70B0A7D49}" type="pres">
      <dgm:prSet presAssocID="{FC561D56-5FF4-1B4B-8AE8-D6C435855BD7}" presName="childNode" presStyleLbl="node1" presStyleIdx="16" presStyleCnt="19">
        <dgm:presLayoutVars>
          <dgm:bulletEnabled val="1"/>
        </dgm:presLayoutVars>
      </dgm:prSet>
      <dgm:spPr>
        <a:xfrm>
          <a:off x="8019504" y="2216226"/>
          <a:ext cx="978858" cy="307371"/>
        </a:xfrm>
        <a:prstGeom prst="roundRect">
          <a:avLst>
            <a:gd name="adj" fmla="val 10000"/>
          </a:avLst>
        </a:prstGeom>
      </dgm:spPr>
      <dgm:t>
        <a:bodyPr/>
        <a:lstStyle/>
        <a:p>
          <a:endParaRPr lang="en-ZA"/>
        </a:p>
      </dgm:t>
    </dgm:pt>
    <dgm:pt modelId="{F6DBBD3D-140D-5F46-82A3-F3E2DCD88D5E}" type="pres">
      <dgm:prSet presAssocID="{BF90A0EF-C6B2-7747-AC09-AA37BA5358F6}" presName="aSpace" presStyleCnt="0"/>
      <dgm:spPr/>
    </dgm:pt>
    <dgm:pt modelId="{FFCD5CCB-922D-9F49-8072-F55576A05130}" type="pres">
      <dgm:prSet presAssocID="{F407936D-75D2-8A46-946D-564730CF309F}" presName="compNode" presStyleCnt="0"/>
      <dgm:spPr/>
    </dgm:pt>
    <dgm:pt modelId="{235D035F-0A34-1448-A08B-25E5BD3576AD}" type="pres">
      <dgm:prSet presAssocID="{F407936D-75D2-8A46-946D-564730CF309F}" presName="aNode" presStyleLbl="bgShp" presStyleIdx="7" presStyleCnt="8"/>
      <dgm:spPr/>
      <dgm:t>
        <a:bodyPr/>
        <a:lstStyle/>
        <a:p>
          <a:endParaRPr lang="en-ZA"/>
        </a:p>
      </dgm:t>
    </dgm:pt>
    <dgm:pt modelId="{216F8EAF-97C0-8A4A-B6D9-0A241BA98570}" type="pres">
      <dgm:prSet presAssocID="{F407936D-75D2-8A46-946D-564730CF309F}" presName="textNode" presStyleLbl="bgShp" presStyleIdx="7" presStyleCnt="8"/>
      <dgm:spPr/>
      <dgm:t>
        <a:bodyPr/>
        <a:lstStyle/>
        <a:p>
          <a:endParaRPr lang="en-ZA"/>
        </a:p>
      </dgm:t>
    </dgm:pt>
    <dgm:pt modelId="{4B96A565-E19E-5647-862D-F5E7A8507A8D}" type="pres">
      <dgm:prSet presAssocID="{F407936D-75D2-8A46-946D-564730CF309F}" presName="compChildNode" presStyleCnt="0"/>
      <dgm:spPr/>
    </dgm:pt>
    <dgm:pt modelId="{C305E100-90E2-2546-BE50-41AC486025C1}" type="pres">
      <dgm:prSet presAssocID="{F407936D-75D2-8A46-946D-564730CF309F}" presName="theInnerList" presStyleCnt="0"/>
      <dgm:spPr/>
    </dgm:pt>
    <dgm:pt modelId="{FDA4B58C-55C1-054F-9A48-207E157191A2}" type="pres">
      <dgm:prSet presAssocID="{56643650-044C-1B41-BE40-80D9F5DE6EEA}" presName="childNode" presStyleLbl="node1" presStyleIdx="17" presStyleCnt="19">
        <dgm:presLayoutVars>
          <dgm:bulletEnabled val="1"/>
        </dgm:presLayoutVars>
      </dgm:prSet>
      <dgm:spPr>
        <a:xfrm>
          <a:off x="7713887" y="629146"/>
          <a:ext cx="808883" cy="1363151"/>
        </a:xfrm>
        <a:prstGeom prst="roundRect">
          <a:avLst>
            <a:gd name="adj" fmla="val 10000"/>
          </a:avLst>
        </a:prstGeom>
      </dgm:spPr>
      <dgm:t>
        <a:bodyPr/>
        <a:lstStyle/>
        <a:p>
          <a:endParaRPr lang="en-ZA"/>
        </a:p>
      </dgm:t>
    </dgm:pt>
    <dgm:pt modelId="{D843B429-85F6-4DB4-BB4A-AD89D03BFBDD}" type="pres">
      <dgm:prSet presAssocID="{56643650-044C-1B41-BE40-80D9F5DE6EEA}" presName="aSpace2" presStyleCnt="0"/>
      <dgm:spPr/>
    </dgm:pt>
    <dgm:pt modelId="{59CCDBF5-1243-4882-B0EA-2A13AC4C7219}" type="pres">
      <dgm:prSet presAssocID="{0342DB36-C4DD-44DC-B031-9C8DE049639A}" presName="childNode" presStyleLbl="node1" presStyleIdx="18" presStyleCnt="19" custScaleX="126173">
        <dgm:presLayoutVars>
          <dgm:bulletEnabled val="1"/>
        </dgm:presLayoutVars>
      </dgm:prSet>
      <dgm:spPr>
        <a:prstGeom prst="roundRect">
          <a:avLst>
            <a:gd name="adj" fmla="val 10000"/>
          </a:avLst>
        </a:prstGeom>
      </dgm:spPr>
      <dgm:t>
        <a:bodyPr/>
        <a:lstStyle/>
        <a:p>
          <a:endParaRPr lang="en-ZA"/>
        </a:p>
      </dgm:t>
    </dgm:pt>
  </dgm:ptLst>
  <dgm:cxnLst>
    <dgm:cxn modelId="{826AD18A-F3F4-486C-B4FA-D607F008EF38}" type="presOf" srcId="{456925A2-304C-1340-B163-E2672C88345A}" destId="{DD42BD83-C17C-2A45-9DAC-098C16706304}" srcOrd="0" destOrd="0" presId="urn:microsoft.com/office/officeart/2005/8/layout/lProcess2"/>
    <dgm:cxn modelId="{5AC05359-FB23-4438-8CB3-98D4A42195D2}" type="presOf" srcId="{746DB36A-3B65-A145-B478-9FD18AB44706}" destId="{648B5148-6FC9-814B-A26C-80175D9A233C}" srcOrd="1" destOrd="0" presId="urn:microsoft.com/office/officeart/2005/8/layout/lProcess2"/>
    <dgm:cxn modelId="{272F0A10-EF33-BF44-B337-69D137A5DFF0}" srcId="{F6FC6DA0-B75D-2A44-A904-B76F8BB751A9}" destId="{19FB9CE9-7153-D14C-9C08-AA7F623350D7}" srcOrd="0" destOrd="0" parTransId="{A3E5CDA2-01E5-6D42-A70D-BC1AC1F5D5D4}" sibTransId="{9E27F99E-6859-244D-8A99-311382CBD041}"/>
    <dgm:cxn modelId="{19ADFCF7-9BB6-4288-9452-3A604A9F4B5B}" type="presOf" srcId="{19FB9CE9-7153-D14C-9C08-AA7F623350D7}" destId="{F7B96694-72B7-1C43-AB96-15C2E32879A9}" srcOrd="0" destOrd="0" presId="urn:microsoft.com/office/officeart/2005/8/layout/lProcess2"/>
    <dgm:cxn modelId="{31A84258-14BA-44F3-997B-60819433BEC6}" type="presOf" srcId="{F6FC6DA0-B75D-2A44-A904-B76F8BB751A9}" destId="{5384C1C0-904D-AB45-959C-DE342C71302F}" srcOrd="1" destOrd="0" presId="urn:microsoft.com/office/officeart/2005/8/layout/lProcess2"/>
    <dgm:cxn modelId="{35828565-0A76-4065-894E-E6ABD8401F15}" type="presOf" srcId="{517B3F3C-3F41-0147-9901-306775595F16}" destId="{B5568226-AE69-B649-A819-95F4F2365CB9}" srcOrd="0" destOrd="0" presId="urn:microsoft.com/office/officeart/2005/8/layout/lProcess2"/>
    <dgm:cxn modelId="{ED2B2EFC-F668-4816-ABF4-9B1C537029F0}" type="presOf" srcId="{56A4C093-741A-2644-97C6-D076C01BC217}" destId="{AB7F4627-C70C-C348-B8BA-3FEDC730F870}" srcOrd="0" destOrd="0" presId="urn:microsoft.com/office/officeart/2005/8/layout/lProcess2"/>
    <dgm:cxn modelId="{7F22F2BD-D78A-A34D-998F-EBEA31BB170B}" srcId="{655332C2-973D-9949-9D0F-F2A3198EAA6A}" destId="{AFEF2BA1-F655-3049-825C-6B8AE4607AAD}" srcOrd="0" destOrd="0" parTransId="{5865558D-8BBA-F245-901E-69FFBB0623A1}" sibTransId="{FAA10A2A-143F-DB46-8697-788B91C1F5BC}"/>
    <dgm:cxn modelId="{D0F26C83-9925-E745-A751-43829E41EE68}" srcId="{83F30878-DADD-A043-93AF-7CDA69F6516E}" destId="{925F08FB-13DB-6E45-BF00-BAEA61191BA4}" srcOrd="5" destOrd="0" parTransId="{F74D7F8B-71E2-DF42-BCEC-E234BE7C8A50}" sibTransId="{6F591A81-8033-CE46-9B73-6CE3BB83B13E}"/>
    <dgm:cxn modelId="{5C144A60-448D-AE44-877F-0AEBAFC93DDD}" srcId="{517B3F3C-3F41-0147-9901-306775595F16}" destId="{8E94A4DE-313D-104F-9A6D-6294EA969210}" srcOrd="1" destOrd="0" parTransId="{ABBD0DCE-4BD5-6143-9D16-07C56DE03AFF}" sibTransId="{0A8341D4-7688-C24E-A432-A8ED0491CA7F}"/>
    <dgm:cxn modelId="{00083CFD-0C4E-4C88-84E6-E20B062B6EC0}" type="presOf" srcId="{F6FC6DA0-B75D-2A44-A904-B76F8BB751A9}" destId="{BAF7CD8D-D80B-5A48-A349-2DF9761E7B8D}" srcOrd="0" destOrd="0" presId="urn:microsoft.com/office/officeart/2005/8/layout/lProcess2"/>
    <dgm:cxn modelId="{7880AD1A-C563-4B7F-AD2A-2FB09D719458}" type="presOf" srcId="{655332C2-973D-9949-9D0F-F2A3198EAA6A}" destId="{12A82E8D-E0C0-F446-9677-07106AD831A9}" srcOrd="0" destOrd="0" presId="urn:microsoft.com/office/officeart/2005/8/layout/lProcess2"/>
    <dgm:cxn modelId="{B10801C6-EA10-4745-83F9-60FA6AC69B1E}" type="presOf" srcId="{B11DD8C3-A36C-6741-87E7-879FB1C0E6BD}" destId="{B794C6EF-8EB0-F642-ABCD-7DED20C213D3}" srcOrd="0" destOrd="0" presId="urn:microsoft.com/office/officeart/2005/8/layout/lProcess2"/>
    <dgm:cxn modelId="{EB4E6027-2EDC-4341-B63A-F1934DA5EF7F}" type="presOf" srcId="{517B3F3C-3F41-0147-9901-306775595F16}" destId="{F493A532-08E0-1144-B3E3-97BE05A16048}" srcOrd="1" destOrd="0" presId="urn:microsoft.com/office/officeart/2005/8/layout/lProcess2"/>
    <dgm:cxn modelId="{6A788541-F603-4F1E-978F-5048E825760D}" type="presOf" srcId="{A80C1399-967C-CA42-B0C7-1E8FF425E350}" destId="{3B0DE46D-34C7-D548-92FA-B15FA4A63197}" srcOrd="0" destOrd="0" presId="urn:microsoft.com/office/officeart/2005/8/layout/lProcess2"/>
    <dgm:cxn modelId="{F1364FE1-55EF-4DB3-904B-AD57CDF6E894}" type="presOf" srcId="{FC561D56-5FF4-1B4B-8AE8-D6C435855BD7}" destId="{6F27F464-DEA2-F946-9AB1-ACC70B0A7D49}" srcOrd="0" destOrd="0" presId="urn:microsoft.com/office/officeart/2005/8/layout/lProcess2"/>
    <dgm:cxn modelId="{50A54798-17AC-4E3A-B7F8-D5A48CE15A15}" srcId="{93EF0CDD-34B1-8442-81F5-EDE1E95BB3A7}" destId="{3FD60BE2-B8FD-43F2-8C8C-9F1C434D9717}" srcOrd="2" destOrd="0" parTransId="{5B1C87F8-5A68-4AC0-8DA4-B67C3AE75EAD}" sibTransId="{09603133-FE6A-4FB2-84DB-0062B92581FA}"/>
    <dgm:cxn modelId="{E8190B10-EB67-4B01-9850-6859535620DC}" type="presOf" srcId="{93EF0CDD-34B1-8442-81F5-EDE1E95BB3A7}" destId="{CC062044-253D-B041-873A-47F609C9D092}" srcOrd="0" destOrd="0" presId="urn:microsoft.com/office/officeart/2005/8/layout/lProcess2"/>
    <dgm:cxn modelId="{34AEFC34-C22D-6F43-BC38-132783BC6A68}" srcId="{F6FC6DA0-B75D-2A44-A904-B76F8BB751A9}" destId="{B11DD8C3-A36C-6741-87E7-879FB1C0E6BD}" srcOrd="1" destOrd="0" parTransId="{20777451-726D-E74B-8E41-5E35EDF395EA}" sibTransId="{C90229C2-4D74-4F4C-9BFA-7BEE18F8501C}"/>
    <dgm:cxn modelId="{A23B5850-4833-4691-BB34-581D95668A57}" type="presOf" srcId="{56643650-044C-1B41-BE40-80D9F5DE6EEA}" destId="{FDA4B58C-55C1-054F-9A48-207E157191A2}" srcOrd="0" destOrd="0" presId="urn:microsoft.com/office/officeart/2005/8/layout/lProcess2"/>
    <dgm:cxn modelId="{3BECDEC2-217F-4CE3-82CE-3AA70275F200}" srcId="{F6FC6DA0-B75D-2A44-A904-B76F8BB751A9}" destId="{C1177BB5-5449-46D6-9F42-4653B71C4DB6}" srcOrd="2" destOrd="0" parTransId="{2905A04E-1F0D-4DDF-A725-F49A2F9F076C}" sibTransId="{B930E263-C0B2-46D8-9A25-62BA701D09C3}"/>
    <dgm:cxn modelId="{A7A60719-D422-4DDE-9BDA-BC4D1D7A1CD8}" type="presOf" srcId="{3AFA62F7-6C36-B843-9335-1C46726B8C73}" destId="{44E222EB-8D0F-3343-B35C-BC422DB4612B}" srcOrd="0" destOrd="0" presId="urn:microsoft.com/office/officeart/2005/8/layout/lProcess2"/>
    <dgm:cxn modelId="{B1B23987-C194-1A40-B50C-D4FA0F6B3094}" srcId="{746DB36A-3B65-A145-B478-9FD18AB44706}" destId="{3AFA62F7-6C36-B843-9335-1C46726B8C73}" srcOrd="0" destOrd="0" parTransId="{88A8CB1C-5829-0542-9965-FD3A05DB9733}" sibTransId="{B362CB8A-9F56-9A46-B7D8-4E9FC68D2C68}"/>
    <dgm:cxn modelId="{C45C5B95-4A52-433B-9790-BECE80E2B67A}" type="presOf" srcId="{5B2F2DC3-0029-47D8-9BAA-FECD267C405B}" destId="{64449E7D-C6FE-475F-83D1-3E131557A18D}" srcOrd="0" destOrd="0" presId="urn:microsoft.com/office/officeart/2005/8/layout/lProcess2"/>
    <dgm:cxn modelId="{752DC65C-003B-3040-847B-484D431E28E6}" srcId="{83F30878-DADD-A043-93AF-7CDA69F6516E}" destId="{655332C2-973D-9949-9D0F-F2A3198EAA6A}" srcOrd="2" destOrd="0" parTransId="{96DFA70B-28F3-3B48-8E34-17FF16BEAEFB}" sibTransId="{18676574-0A79-E646-BEBB-55177B21E967}"/>
    <dgm:cxn modelId="{4B5D86C9-FF75-4B00-84E5-96508BA71D96}" type="presOf" srcId="{BF90A0EF-C6B2-7747-AC09-AA37BA5358F6}" destId="{AB794DF4-106E-C24E-9AE8-14A804097BC6}" srcOrd="0" destOrd="0" presId="urn:microsoft.com/office/officeart/2005/8/layout/lProcess2"/>
    <dgm:cxn modelId="{0DA06F80-82D6-4560-BA04-A1EED0C53DE0}" type="presOf" srcId="{925F08FB-13DB-6E45-BF00-BAEA61191BA4}" destId="{E9843257-88A4-A74E-B77F-944E0F51F2D3}" srcOrd="0" destOrd="0" presId="urn:microsoft.com/office/officeart/2005/8/layout/lProcess2"/>
    <dgm:cxn modelId="{1F143891-EF72-46D3-B6EB-E3283B72233C}" type="presOf" srcId="{1D491BF6-3F84-904F-8244-C0A93BDDCF12}" destId="{CBAFA610-556B-7E44-93A8-B05B1C8A0D0A}" srcOrd="0" destOrd="0" presId="urn:microsoft.com/office/officeart/2005/8/layout/lProcess2"/>
    <dgm:cxn modelId="{42E0AF70-C679-B843-A426-F9D3BA79BB80}" srcId="{83F30878-DADD-A043-93AF-7CDA69F6516E}" destId="{F407936D-75D2-8A46-946D-564730CF309F}" srcOrd="7" destOrd="0" parTransId="{C234EF85-399C-D44A-BAAB-3D3182A00792}" sibTransId="{9587954E-B280-614D-AB81-BEA40A5B2920}"/>
    <dgm:cxn modelId="{A23A3FF8-7862-4A1B-8C5A-A195FFFA3219}" type="presOf" srcId="{38993182-B43F-4C44-A711-34BFAC4840D7}" destId="{BC5D1FD1-CB45-9542-A702-DFB03ECAE047}" srcOrd="0" destOrd="0" presId="urn:microsoft.com/office/officeart/2005/8/layout/lProcess2"/>
    <dgm:cxn modelId="{5DE8CDD5-1885-684E-9EDB-88C27135992E}" srcId="{BF90A0EF-C6B2-7747-AC09-AA37BA5358F6}" destId="{0D678627-7AD7-5449-B9C6-466BA6706972}" srcOrd="1" destOrd="0" parTransId="{61DA89D0-3DED-7C4D-8A96-2FB25F679AD4}" sibTransId="{0D48F21B-95CE-4F4A-B4D5-CFAA9347F014}"/>
    <dgm:cxn modelId="{E1D14D1A-411A-49CF-A033-A7A9CE623F03}" type="presOf" srcId="{93EF0CDD-34B1-8442-81F5-EDE1E95BB3A7}" destId="{F3777994-D6B9-D34C-8C8D-8B5137278F47}" srcOrd="1" destOrd="0" presId="urn:microsoft.com/office/officeart/2005/8/layout/lProcess2"/>
    <dgm:cxn modelId="{96EDAE68-EB5E-42FE-9C18-4AADCC82B63D}" type="presOf" srcId="{FC3F938D-B965-0043-BD9A-6B7C1E48D575}" destId="{A90FEB2D-D9DC-2B47-8C01-DA838B68660D}" srcOrd="0" destOrd="0" presId="urn:microsoft.com/office/officeart/2005/8/layout/lProcess2"/>
    <dgm:cxn modelId="{E562C69A-FB2C-4AC8-95AF-B1E33836C072}" srcId="{746DB36A-3B65-A145-B478-9FD18AB44706}" destId="{5B2F2DC3-0029-47D8-9BAA-FECD267C405B}" srcOrd="1" destOrd="0" parTransId="{34FA2D3B-9283-438C-BFB6-F6260C1FA0D0}" sibTransId="{45ECB974-925C-40F2-B137-B7C55F69F035}"/>
    <dgm:cxn modelId="{EC02C3C5-DE16-0345-AC26-1389EF30FA0D}" srcId="{83F30878-DADD-A043-93AF-7CDA69F6516E}" destId="{746DB36A-3B65-A145-B478-9FD18AB44706}" srcOrd="4" destOrd="0" parTransId="{F29DA4D2-6F11-1F4A-ACD3-9F877F9FE05F}" sibTransId="{6E52A467-1C02-034A-A9EF-C7CB357D1BD0}"/>
    <dgm:cxn modelId="{BC6E0DA3-D718-41E4-920F-3595EB8CDB28}" type="presOf" srcId="{925F08FB-13DB-6E45-BF00-BAEA61191BA4}" destId="{EF0FEB73-635A-8442-8DF6-1356D2CAD597}" srcOrd="1" destOrd="0" presId="urn:microsoft.com/office/officeart/2005/8/layout/lProcess2"/>
    <dgm:cxn modelId="{33CE5F97-865E-4064-B28B-BCCE3AFD4F1C}" type="presOf" srcId="{BF90A0EF-C6B2-7747-AC09-AA37BA5358F6}" destId="{8BBF9131-15D6-1045-8366-E80F397F88D9}" srcOrd="1" destOrd="0" presId="urn:microsoft.com/office/officeart/2005/8/layout/lProcess2"/>
    <dgm:cxn modelId="{CEDD097E-BA1B-4563-B7BD-EBACD28AE96D}" type="presOf" srcId="{8E94A4DE-313D-104F-9A6D-6294EA969210}" destId="{7D457997-BF0D-EE4F-A021-1E05F7BB04D7}" srcOrd="0" destOrd="0" presId="urn:microsoft.com/office/officeart/2005/8/layout/lProcess2"/>
    <dgm:cxn modelId="{B1010A2C-402E-B045-AA8B-6323CF639338}" srcId="{F407936D-75D2-8A46-946D-564730CF309F}" destId="{56643650-044C-1B41-BE40-80D9F5DE6EEA}" srcOrd="0" destOrd="0" parTransId="{6F1DFC1B-84C5-424E-801A-78DE07EE6C83}" sibTransId="{2A9DBED1-0057-7340-84FF-205DD5FD2836}"/>
    <dgm:cxn modelId="{7F4FD789-9452-4FA2-B400-C6614FE25C0C}" type="presOf" srcId="{655332C2-973D-9949-9D0F-F2A3198EAA6A}" destId="{5A26A289-5CC1-7343-A13E-474C0B94CA4D}" srcOrd="1" destOrd="0" presId="urn:microsoft.com/office/officeart/2005/8/layout/lProcess2"/>
    <dgm:cxn modelId="{3DB25FDA-6AAD-420F-A332-0664FF92D41C}" type="presOf" srcId="{979A1641-9568-E14C-8EEE-277DE852EB7C}" destId="{A20B97CC-39F9-394B-8805-D6B14FEE6DF5}" srcOrd="0" destOrd="0" presId="urn:microsoft.com/office/officeart/2005/8/layout/lProcess2"/>
    <dgm:cxn modelId="{0C4A6D39-B1D7-423C-8E11-C9B42CD176E7}" srcId="{F407936D-75D2-8A46-946D-564730CF309F}" destId="{0342DB36-C4DD-44DC-B031-9C8DE049639A}" srcOrd="1" destOrd="0" parTransId="{0C356851-E5C8-4D95-A06E-8F8798A7E6E4}" sibTransId="{F7A74E6B-0A37-419A-8F0C-55843A16CBBF}"/>
    <dgm:cxn modelId="{1E67A4AF-EC9B-9F4D-8429-0A0F8680BC29}" srcId="{BF90A0EF-C6B2-7747-AC09-AA37BA5358F6}" destId="{56A4C093-741A-2644-97C6-D076C01BC217}" srcOrd="0" destOrd="0" parTransId="{ECD39CC7-8223-9D49-A2C9-B5ED0A19979A}" sibTransId="{40055289-63CB-5A4A-9802-EBD82BDE2E41}"/>
    <dgm:cxn modelId="{72413F74-6700-5744-BAF8-4BFD2709D651}" srcId="{925F08FB-13DB-6E45-BF00-BAEA61191BA4}" destId="{1D491BF6-3F84-904F-8244-C0A93BDDCF12}" srcOrd="0" destOrd="0" parTransId="{3997A17F-BC31-5D41-8801-C56EDD19DE55}" sibTransId="{91E747F9-C435-C64A-8D18-D163C7F4EF84}"/>
    <dgm:cxn modelId="{3F1EADD3-250A-8A4A-A56F-69E278119A24}" srcId="{517B3F3C-3F41-0147-9901-306775595F16}" destId="{456925A2-304C-1340-B163-E2672C88345A}" srcOrd="0" destOrd="0" parTransId="{9F92AF63-80DA-B449-85EE-F04482E648FF}" sibTransId="{D97712A7-B6E0-4345-B4B3-8561ADB10B06}"/>
    <dgm:cxn modelId="{42458339-49C8-3845-B8D6-AD909A31D9A7}" srcId="{83F30878-DADD-A043-93AF-7CDA69F6516E}" destId="{517B3F3C-3F41-0147-9901-306775595F16}" srcOrd="3" destOrd="0" parTransId="{0F9F2A2D-51DF-EA47-AB89-F1C71162EB48}" sibTransId="{34943373-AE4F-C845-8498-0B9C58BD9303}"/>
    <dgm:cxn modelId="{2DC81E9A-0B9E-4E2F-BAAD-C8160AFB4083}" type="presOf" srcId="{F407936D-75D2-8A46-946D-564730CF309F}" destId="{235D035F-0A34-1448-A08B-25E5BD3576AD}" srcOrd="0" destOrd="0" presId="urn:microsoft.com/office/officeart/2005/8/layout/lProcess2"/>
    <dgm:cxn modelId="{24400DA2-0469-8B4D-A79E-38DB56E34016}" srcId="{93EF0CDD-34B1-8442-81F5-EDE1E95BB3A7}" destId="{FC3F938D-B965-0043-BD9A-6B7C1E48D575}" srcOrd="1" destOrd="0" parTransId="{0C7E3400-6DB7-5842-A90A-E0D100B88F9F}" sibTransId="{DA9D24E6-C4AA-4F4A-A518-9B6FC192E5AD}"/>
    <dgm:cxn modelId="{B78A93FB-1F75-42E2-B4FD-2C9234147D47}" type="presOf" srcId="{AFEF2BA1-F655-3049-825C-6B8AE4607AAD}" destId="{0BD4D830-0612-9344-AB1A-F53D0CB588A6}" srcOrd="0" destOrd="0" presId="urn:microsoft.com/office/officeart/2005/8/layout/lProcess2"/>
    <dgm:cxn modelId="{75883E77-0EB6-4457-80EB-3042E2075776}" type="presOf" srcId="{0D678627-7AD7-5449-B9C6-466BA6706972}" destId="{3FEC3199-2718-794C-B7B1-85E47155598A}" srcOrd="0" destOrd="0" presId="urn:microsoft.com/office/officeart/2005/8/layout/lProcess2"/>
    <dgm:cxn modelId="{7BBF75CA-2E9A-2C4B-B866-D1EF992FD0D7}" srcId="{83F30878-DADD-A043-93AF-7CDA69F6516E}" destId="{93EF0CDD-34B1-8442-81F5-EDE1E95BB3A7}" srcOrd="1" destOrd="0" parTransId="{D00DBB13-D8AB-314C-A637-64A1374D40EA}" sibTransId="{7956709D-341B-1C4C-813B-D0163F9F6CC1}"/>
    <dgm:cxn modelId="{002F0C5B-9FED-7142-B5E0-3FF184C50228}" srcId="{93EF0CDD-34B1-8442-81F5-EDE1E95BB3A7}" destId="{A80C1399-967C-CA42-B0C7-1E8FF425E350}" srcOrd="0" destOrd="0" parTransId="{002625CB-83FC-4B4A-8FC2-CFAAC5D9F8E5}" sibTransId="{64540C7B-3673-B641-B905-0E6B83FF067F}"/>
    <dgm:cxn modelId="{AAF68079-01A9-4749-9511-E8C577BAF8DF}" srcId="{83F30878-DADD-A043-93AF-7CDA69F6516E}" destId="{F6FC6DA0-B75D-2A44-A904-B76F8BB751A9}" srcOrd="0" destOrd="0" parTransId="{BD5C2E60-C462-B949-B49E-00A7991CDD40}" sibTransId="{D0A845CB-3F15-9D4F-B105-86929A8CD943}"/>
    <dgm:cxn modelId="{80C6742E-82E4-184D-8FCA-CFDE41B72C1D}" srcId="{83F30878-DADD-A043-93AF-7CDA69F6516E}" destId="{BF90A0EF-C6B2-7747-AC09-AA37BA5358F6}" srcOrd="6" destOrd="0" parTransId="{F043080F-E62D-0A4A-9E52-25AA81B7D023}" sibTransId="{A03DADA9-2439-E741-92D6-35CA6232C31D}"/>
    <dgm:cxn modelId="{2371AA77-8AB5-1F4A-8BF4-FBEE28B4C9DC}" srcId="{BF90A0EF-C6B2-7747-AC09-AA37BA5358F6}" destId="{38993182-B43F-4C44-A711-34BFAC4840D7}" srcOrd="3" destOrd="0" parTransId="{FB4501B5-7F0F-F144-8E26-5EA381398123}" sibTransId="{27BCDAC9-DB9F-EC47-877A-D4C166AD9312}"/>
    <dgm:cxn modelId="{03E57E66-7710-42F6-BDBE-E65CEDC0793E}" type="presOf" srcId="{F407936D-75D2-8A46-946D-564730CF309F}" destId="{216F8EAF-97C0-8A4A-B6D9-0A241BA98570}" srcOrd="1" destOrd="0" presId="urn:microsoft.com/office/officeart/2005/8/layout/lProcess2"/>
    <dgm:cxn modelId="{BD8DEAC5-8D7C-4C11-ACAC-87388920546A}" type="presOf" srcId="{83F30878-DADD-A043-93AF-7CDA69F6516E}" destId="{F752FE16-A4F7-8A46-BCB9-A8A7705EC0E9}" srcOrd="0" destOrd="0" presId="urn:microsoft.com/office/officeart/2005/8/layout/lProcess2"/>
    <dgm:cxn modelId="{3B3C5546-F978-403A-86E0-D78F520DA662}" type="presOf" srcId="{3FD60BE2-B8FD-43F2-8C8C-9F1C434D9717}" destId="{DD439577-A925-492F-A546-14A15855CD65}" srcOrd="0" destOrd="0" presId="urn:microsoft.com/office/officeart/2005/8/layout/lProcess2"/>
    <dgm:cxn modelId="{F49B9680-0884-5347-B207-01A739DA2573}" srcId="{BF90A0EF-C6B2-7747-AC09-AA37BA5358F6}" destId="{FC561D56-5FF4-1B4B-8AE8-D6C435855BD7}" srcOrd="4" destOrd="0" parTransId="{AC8527DB-FE58-FD47-8EEF-E0C4E25C156C}" sibTransId="{1F8A15A0-CB43-9442-990F-F78E9D7E4E37}"/>
    <dgm:cxn modelId="{A7FF61C4-7A84-4A4A-948B-C0816E1F45B1}" type="presOf" srcId="{C1177BB5-5449-46D6-9F42-4653B71C4DB6}" destId="{AE126BDF-C1D6-4761-B4F4-49A145A0DD18}" srcOrd="0" destOrd="0" presId="urn:microsoft.com/office/officeart/2005/8/layout/lProcess2"/>
    <dgm:cxn modelId="{BED1DBD6-F07C-415A-8A93-509F5FC1C5E2}" type="presOf" srcId="{746DB36A-3B65-A145-B478-9FD18AB44706}" destId="{E51D7272-E701-B047-B3D3-EF8720A57B3B}" srcOrd="0" destOrd="0" presId="urn:microsoft.com/office/officeart/2005/8/layout/lProcess2"/>
    <dgm:cxn modelId="{FE8B7442-7B69-6146-9AFA-E6ECAF3B6591}" srcId="{BF90A0EF-C6B2-7747-AC09-AA37BA5358F6}" destId="{979A1641-9568-E14C-8EEE-277DE852EB7C}" srcOrd="2" destOrd="0" parTransId="{1CD73F95-0AC7-0748-823A-7A2964CCEDFD}" sibTransId="{3EB99283-E26E-5D45-8065-5BE52D9BA773}"/>
    <dgm:cxn modelId="{4CD9D528-78A6-4049-B3DB-8E0DEF0D26D0}" type="presOf" srcId="{0342DB36-C4DD-44DC-B031-9C8DE049639A}" destId="{59CCDBF5-1243-4882-B0EA-2A13AC4C7219}" srcOrd="0" destOrd="0" presId="urn:microsoft.com/office/officeart/2005/8/layout/lProcess2"/>
    <dgm:cxn modelId="{EB852565-BF9C-4CEF-83A2-97D3B3B7A1FE}" type="presParOf" srcId="{F752FE16-A4F7-8A46-BCB9-A8A7705EC0E9}" destId="{667E39DD-A00E-F845-8C63-AA4C78B3EADF}" srcOrd="0" destOrd="0" presId="urn:microsoft.com/office/officeart/2005/8/layout/lProcess2"/>
    <dgm:cxn modelId="{65C7901F-B588-425E-9588-5FEF8DE6808E}" type="presParOf" srcId="{667E39DD-A00E-F845-8C63-AA4C78B3EADF}" destId="{BAF7CD8D-D80B-5A48-A349-2DF9761E7B8D}" srcOrd="0" destOrd="0" presId="urn:microsoft.com/office/officeart/2005/8/layout/lProcess2"/>
    <dgm:cxn modelId="{B953DF0E-D0DC-458F-AA35-E073D8012722}" type="presParOf" srcId="{667E39DD-A00E-F845-8C63-AA4C78B3EADF}" destId="{5384C1C0-904D-AB45-959C-DE342C71302F}" srcOrd="1" destOrd="0" presId="urn:microsoft.com/office/officeart/2005/8/layout/lProcess2"/>
    <dgm:cxn modelId="{F2135F91-DF0C-4F68-AD79-8C9E1DEA04F2}" type="presParOf" srcId="{667E39DD-A00E-F845-8C63-AA4C78B3EADF}" destId="{4D4A2558-ED61-1447-8DA4-660B01877DE7}" srcOrd="2" destOrd="0" presId="urn:microsoft.com/office/officeart/2005/8/layout/lProcess2"/>
    <dgm:cxn modelId="{0C6A2FDE-A5C5-49F2-88A7-44DE9F4EFA26}" type="presParOf" srcId="{4D4A2558-ED61-1447-8DA4-660B01877DE7}" destId="{EA7F8131-E619-8447-8C3D-FF30D45EDB4F}" srcOrd="0" destOrd="0" presId="urn:microsoft.com/office/officeart/2005/8/layout/lProcess2"/>
    <dgm:cxn modelId="{352B1960-9F2C-4055-9ADF-F12425A53115}" type="presParOf" srcId="{EA7F8131-E619-8447-8C3D-FF30D45EDB4F}" destId="{F7B96694-72B7-1C43-AB96-15C2E32879A9}" srcOrd="0" destOrd="0" presId="urn:microsoft.com/office/officeart/2005/8/layout/lProcess2"/>
    <dgm:cxn modelId="{B19F3901-D12D-497B-BE48-BE7A49420FDF}" type="presParOf" srcId="{EA7F8131-E619-8447-8C3D-FF30D45EDB4F}" destId="{FF255F95-8870-1F45-8346-36B6C33A96C0}" srcOrd="1" destOrd="0" presId="urn:microsoft.com/office/officeart/2005/8/layout/lProcess2"/>
    <dgm:cxn modelId="{396C6538-3458-4E71-9A4A-3DDC9E05D2BA}" type="presParOf" srcId="{EA7F8131-E619-8447-8C3D-FF30D45EDB4F}" destId="{B794C6EF-8EB0-F642-ABCD-7DED20C213D3}" srcOrd="2" destOrd="0" presId="urn:microsoft.com/office/officeart/2005/8/layout/lProcess2"/>
    <dgm:cxn modelId="{62DD8B22-AB52-4760-94DF-DD33F0EBC1E5}" type="presParOf" srcId="{EA7F8131-E619-8447-8C3D-FF30D45EDB4F}" destId="{6205D592-D983-4E48-87C0-EC26F13C3F8A}" srcOrd="3" destOrd="0" presId="urn:microsoft.com/office/officeart/2005/8/layout/lProcess2"/>
    <dgm:cxn modelId="{DE891BFD-8166-44F4-9F5A-0B5EF492F1E6}" type="presParOf" srcId="{EA7F8131-E619-8447-8C3D-FF30D45EDB4F}" destId="{AE126BDF-C1D6-4761-B4F4-49A145A0DD18}" srcOrd="4" destOrd="0" presId="urn:microsoft.com/office/officeart/2005/8/layout/lProcess2"/>
    <dgm:cxn modelId="{1E9658E0-3CFC-4414-A185-EEF5D06582EE}" type="presParOf" srcId="{F752FE16-A4F7-8A46-BCB9-A8A7705EC0E9}" destId="{46B0212D-7876-9641-A02F-142EC21E381B}" srcOrd="1" destOrd="0" presId="urn:microsoft.com/office/officeart/2005/8/layout/lProcess2"/>
    <dgm:cxn modelId="{1C08A377-4F07-4835-91AC-44D898B131B4}" type="presParOf" srcId="{F752FE16-A4F7-8A46-BCB9-A8A7705EC0E9}" destId="{0F3E6A82-B458-C44D-A1C8-DF99E81C4BAC}" srcOrd="2" destOrd="0" presId="urn:microsoft.com/office/officeart/2005/8/layout/lProcess2"/>
    <dgm:cxn modelId="{887AE5DB-28C6-49C5-B8A4-CEBE2763551F}" type="presParOf" srcId="{0F3E6A82-B458-C44D-A1C8-DF99E81C4BAC}" destId="{CC062044-253D-B041-873A-47F609C9D092}" srcOrd="0" destOrd="0" presId="urn:microsoft.com/office/officeart/2005/8/layout/lProcess2"/>
    <dgm:cxn modelId="{064C8F07-61B6-48DC-AE09-8759C85FAB5A}" type="presParOf" srcId="{0F3E6A82-B458-C44D-A1C8-DF99E81C4BAC}" destId="{F3777994-D6B9-D34C-8C8D-8B5137278F47}" srcOrd="1" destOrd="0" presId="urn:microsoft.com/office/officeart/2005/8/layout/lProcess2"/>
    <dgm:cxn modelId="{50FEE47E-C65C-49C3-A986-C921E8B0BB0F}" type="presParOf" srcId="{0F3E6A82-B458-C44D-A1C8-DF99E81C4BAC}" destId="{6C8098CB-84CB-6E4D-895D-763718EE1547}" srcOrd="2" destOrd="0" presId="urn:microsoft.com/office/officeart/2005/8/layout/lProcess2"/>
    <dgm:cxn modelId="{E23D391C-F268-4108-8021-F2DB0EAB9748}" type="presParOf" srcId="{6C8098CB-84CB-6E4D-895D-763718EE1547}" destId="{05CBBAF5-05F1-F349-A588-C73AEFAE1363}" srcOrd="0" destOrd="0" presId="urn:microsoft.com/office/officeart/2005/8/layout/lProcess2"/>
    <dgm:cxn modelId="{2E0CE92C-C3F4-428E-A6F3-4F771BC938DF}" type="presParOf" srcId="{05CBBAF5-05F1-F349-A588-C73AEFAE1363}" destId="{3B0DE46D-34C7-D548-92FA-B15FA4A63197}" srcOrd="0" destOrd="0" presId="urn:microsoft.com/office/officeart/2005/8/layout/lProcess2"/>
    <dgm:cxn modelId="{2E0FEAE3-D011-488E-8736-B0F04275A35D}" type="presParOf" srcId="{05CBBAF5-05F1-F349-A588-C73AEFAE1363}" destId="{EFBFBD0B-CDED-7247-9B10-F26DA5FF3A27}" srcOrd="1" destOrd="0" presId="urn:microsoft.com/office/officeart/2005/8/layout/lProcess2"/>
    <dgm:cxn modelId="{FB1CF9F8-3D47-4038-B828-63528E5B04AC}" type="presParOf" srcId="{05CBBAF5-05F1-F349-A588-C73AEFAE1363}" destId="{A90FEB2D-D9DC-2B47-8C01-DA838B68660D}" srcOrd="2" destOrd="0" presId="urn:microsoft.com/office/officeart/2005/8/layout/lProcess2"/>
    <dgm:cxn modelId="{6159E6AB-BBB9-4666-AB37-057FE6288856}" type="presParOf" srcId="{05CBBAF5-05F1-F349-A588-C73AEFAE1363}" destId="{6D3F3883-2192-477F-80D3-4D446D5731C6}" srcOrd="3" destOrd="0" presId="urn:microsoft.com/office/officeart/2005/8/layout/lProcess2"/>
    <dgm:cxn modelId="{4DDCA56D-F9EF-45CE-8AC7-809B57EC4973}" type="presParOf" srcId="{05CBBAF5-05F1-F349-A588-C73AEFAE1363}" destId="{DD439577-A925-492F-A546-14A15855CD65}" srcOrd="4" destOrd="0" presId="urn:microsoft.com/office/officeart/2005/8/layout/lProcess2"/>
    <dgm:cxn modelId="{2BCD08C6-FAD8-4592-B009-43774085155A}" type="presParOf" srcId="{F752FE16-A4F7-8A46-BCB9-A8A7705EC0E9}" destId="{A254892C-18FD-BC4B-98CE-21E3A7F4F074}" srcOrd="3" destOrd="0" presId="urn:microsoft.com/office/officeart/2005/8/layout/lProcess2"/>
    <dgm:cxn modelId="{048B0AB1-C529-4A2F-9388-00640EDAB78E}" type="presParOf" srcId="{F752FE16-A4F7-8A46-BCB9-A8A7705EC0E9}" destId="{848ADD16-6342-8544-A17B-B228EC4FD754}" srcOrd="4" destOrd="0" presId="urn:microsoft.com/office/officeart/2005/8/layout/lProcess2"/>
    <dgm:cxn modelId="{EDEC7205-BE5B-4EB8-B25B-46ECBC47922F}" type="presParOf" srcId="{848ADD16-6342-8544-A17B-B228EC4FD754}" destId="{12A82E8D-E0C0-F446-9677-07106AD831A9}" srcOrd="0" destOrd="0" presId="urn:microsoft.com/office/officeart/2005/8/layout/lProcess2"/>
    <dgm:cxn modelId="{8375A16D-4A6D-41FA-8A16-6134E22A4478}" type="presParOf" srcId="{848ADD16-6342-8544-A17B-B228EC4FD754}" destId="{5A26A289-5CC1-7343-A13E-474C0B94CA4D}" srcOrd="1" destOrd="0" presId="urn:microsoft.com/office/officeart/2005/8/layout/lProcess2"/>
    <dgm:cxn modelId="{6225552B-4139-4346-8458-8C1D6A2E8017}" type="presParOf" srcId="{848ADD16-6342-8544-A17B-B228EC4FD754}" destId="{E7EE7740-5643-4C4D-A4D4-A45334AAB7F5}" srcOrd="2" destOrd="0" presId="urn:microsoft.com/office/officeart/2005/8/layout/lProcess2"/>
    <dgm:cxn modelId="{CCC1546A-026D-4817-B666-50B769D48AA3}" type="presParOf" srcId="{E7EE7740-5643-4C4D-A4D4-A45334AAB7F5}" destId="{97E1C3D1-F066-DB47-B7C3-53BA889A5FAD}" srcOrd="0" destOrd="0" presId="urn:microsoft.com/office/officeart/2005/8/layout/lProcess2"/>
    <dgm:cxn modelId="{9691F4B1-330F-4911-A399-7BF051F79BA4}" type="presParOf" srcId="{97E1C3D1-F066-DB47-B7C3-53BA889A5FAD}" destId="{0BD4D830-0612-9344-AB1A-F53D0CB588A6}" srcOrd="0" destOrd="0" presId="urn:microsoft.com/office/officeart/2005/8/layout/lProcess2"/>
    <dgm:cxn modelId="{A3A37129-3A64-4406-B296-46D8A529DD5F}" type="presParOf" srcId="{F752FE16-A4F7-8A46-BCB9-A8A7705EC0E9}" destId="{58C6BE49-1993-5040-B084-29E0AA426A18}" srcOrd="5" destOrd="0" presId="urn:microsoft.com/office/officeart/2005/8/layout/lProcess2"/>
    <dgm:cxn modelId="{18D728AE-6441-488D-A3DB-24066EACDE49}" type="presParOf" srcId="{F752FE16-A4F7-8A46-BCB9-A8A7705EC0E9}" destId="{2C9523A1-B1E3-9F4E-97A2-F66707D45A9D}" srcOrd="6" destOrd="0" presId="urn:microsoft.com/office/officeart/2005/8/layout/lProcess2"/>
    <dgm:cxn modelId="{A6595A56-C58B-4067-AE9A-A89AFAC892BF}" type="presParOf" srcId="{2C9523A1-B1E3-9F4E-97A2-F66707D45A9D}" destId="{B5568226-AE69-B649-A819-95F4F2365CB9}" srcOrd="0" destOrd="0" presId="urn:microsoft.com/office/officeart/2005/8/layout/lProcess2"/>
    <dgm:cxn modelId="{7EAC0527-5BB4-46AD-9203-4410D077E629}" type="presParOf" srcId="{2C9523A1-B1E3-9F4E-97A2-F66707D45A9D}" destId="{F493A532-08E0-1144-B3E3-97BE05A16048}" srcOrd="1" destOrd="0" presId="urn:microsoft.com/office/officeart/2005/8/layout/lProcess2"/>
    <dgm:cxn modelId="{1491BB57-229D-4D9A-9B60-0DF175E585D0}" type="presParOf" srcId="{2C9523A1-B1E3-9F4E-97A2-F66707D45A9D}" destId="{364343C3-B617-9346-9E79-8B19DD90CFB0}" srcOrd="2" destOrd="0" presId="urn:microsoft.com/office/officeart/2005/8/layout/lProcess2"/>
    <dgm:cxn modelId="{97A7228F-0008-46D1-8230-DF8126FC95E5}" type="presParOf" srcId="{364343C3-B617-9346-9E79-8B19DD90CFB0}" destId="{6B730DFA-2A34-A440-ABD5-5E94B0183D56}" srcOrd="0" destOrd="0" presId="urn:microsoft.com/office/officeart/2005/8/layout/lProcess2"/>
    <dgm:cxn modelId="{BE4B1D34-1937-42BD-A816-A9ED5F43337A}" type="presParOf" srcId="{6B730DFA-2A34-A440-ABD5-5E94B0183D56}" destId="{DD42BD83-C17C-2A45-9DAC-098C16706304}" srcOrd="0" destOrd="0" presId="urn:microsoft.com/office/officeart/2005/8/layout/lProcess2"/>
    <dgm:cxn modelId="{164AF8C8-5ABB-416F-A91D-409A14DD0A3C}" type="presParOf" srcId="{6B730DFA-2A34-A440-ABD5-5E94B0183D56}" destId="{CE22AFC1-45A2-9A45-8EB3-3799D30EA66C}" srcOrd="1" destOrd="0" presId="urn:microsoft.com/office/officeart/2005/8/layout/lProcess2"/>
    <dgm:cxn modelId="{7019ED76-F526-4DA9-B0DF-1AAC26BAB76F}" type="presParOf" srcId="{6B730DFA-2A34-A440-ABD5-5E94B0183D56}" destId="{7D457997-BF0D-EE4F-A021-1E05F7BB04D7}" srcOrd="2" destOrd="0" presId="urn:microsoft.com/office/officeart/2005/8/layout/lProcess2"/>
    <dgm:cxn modelId="{35287C37-7BB3-4641-8D10-1ACE7BFDC91A}" type="presParOf" srcId="{F752FE16-A4F7-8A46-BCB9-A8A7705EC0E9}" destId="{4D0EA396-8EDD-B946-A6F7-FD9AF4DAAF4F}" srcOrd="7" destOrd="0" presId="urn:microsoft.com/office/officeart/2005/8/layout/lProcess2"/>
    <dgm:cxn modelId="{2A90A18D-BC45-450B-A791-37AB06053E63}" type="presParOf" srcId="{F752FE16-A4F7-8A46-BCB9-A8A7705EC0E9}" destId="{6DAFE7F3-0992-594A-9B0F-D4EA15EA486B}" srcOrd="8" destOrd="0" presId="urn:microsoft.com/office/officeart/2005/8/layout/lProcess2"/>
    <dgm:cxn modelId="{A6DA651B-43F6-44A4-A91A-FD1460929F16}" type="presParOf" srcId="{6DAFE7F3-0992-594A-9B0F-D4EA15EA486B}" destId="{E51D7272-E701-B047-B3D3-EF8720A57B3B}" srcOrd="0" destOrd="0" presId="urn:microsoft.com/office/officeart/2005/8/layout/lProcess2"/>
    <dgm:cxn modelId="{4F4688B6-AA00-4851-8FB8-7546A226CC94}" type="presParOf" srcId="{6DAFE7F3-0992-594A-9B0F-D4EA15EA486B}" destId="{648B5148-6FC9-814B-A26C-80175D9A233C}" srcOrd="1" destOrd="0" presId="urn:microsoft.com/office/officeart/2005/8/layout/lProcess2"/>
    <dgm:cxn modelId="{6789F4DE-B952-4C59-B637-ACE2259762BC}" type="presParOf" srcId="{6DAFE7F3-0992-594A-9B0F-D4EA15EA486B}" destId="{071BB566-09F7-FE48-94CD-E3C7BCC3BA7A}" srcOrd="2" destOrd="0" presId="urn:microsoft.com/office/officeart/2005/8/layout/lProcess2"/>
    <dgm:cxn modelId="{FE6D04D5-600F-4AAA-A41F-37DA93403493}" type="presParOf" srcId="{071BB566-09F7-FE48-94CD-E3C7BCC3BA7A}" destId="{C632247B-67AD-F24A-BE94-54ECAAB84CAF}" srcOrd="0" destOrd="0" presId="urn:microsoft.com/office/officeart/2005/8/layout/lProcess2"/>
    <dgm:cxn modelId="{E26737AE-0BF4-4029-BE5E-9BFA529AC13A}" type="presParOf" srcId="{C632247B-67AD-F24A-BE94-54ECAAB84CAF}" destId="{44E222EB-8D0F-3343-B35C-BC422DB4612B}" srcOrd="0" destOrd="0" presId="urn:microsoft.com/office/officeart/2005/8/layout/lProcess2"/>
    <dgm:cxn modelId="{3A64A929-A2CC-45B4-A796-EE1BE09FECC7}" type="presParOf" srcId="{C632247B-67AD-F24A-BE94-54ECAAB84CAF}" destId="{04032A40-170C-4D85-9C61-59A5ECB51561}" srcOrd="1" destOrd="0" presId="urn:microsoft.com/office/officeart/2005/8/layout/lProcess2"/>
    <dgm:cxn modelId="{86C0654E-A6E2-4081-BEDD-959AA35EA0B0}" type="presParOf" srcId="{C632247B-67AD-F24A-BE94-54ECAAB84CAF}" destId="{64449E7D-C6FE-475F-83D1-3E131557A18D}" srcOrd="2" destOrd="0" presId="urn:microsoft.com/office/officeart/2005/8/layout/lProcess2"/>
    <dgm:cxn modelId="{051B5F80-A5A9-45A0-964C-6D1013C4FF17}" type="presParOf" srcId="{F752FE16-A4F7-8A46-BCB9-A8A7705EC0E9}" destId="{EC1E37FE-78ED-B348-961D-2C53B7ED5D24}" srcOrd="9" destOrd="0" presId="urn:microsoft.com/office/officeart/2005/8/layout/lProcess2"/>
    <dgm:cxn modelId="{AE788D0D-001E-434C-ACC1-9860073EF728}" type="presParOf" srcId="{F752FE16-A4F7-8A46-BCB9-A8A7705EC0E9}" destId="{FE45AB29-86BB-B945-BC32-4ABE2F8C1CFF}" srcOrd="10" destOrd="0" presId="urn:microsoft.com/office/officeart/2005/8/layout/lProcess2"/>
    <dgm:cxn modelId="{8E894B27-12D8-4A80-B67B-50F004BD1EB1}" type="presParOf" srcId="{FE45AB29-86BB-B945-BC32-4ABE2F8C1CFF}" destId="{E9843257-88A4-A74E-B77F-944E0F51F2D3}" srcOrd="0" destOrd="0" presId="urn:microsoft.com/office/officeart/2005/8/layout/lProcess2"/>
    <dgm:cxn modelId="{A37492E7-3A54-4492-8DB0-F4E5EDDCECD5}" type="presParOf" srcId="{FE45AB29-86BB-B945-BC32-4ABE2F8C1CFF}" destId="{EF0FEB73-635A-8442-8DF6-1356D2CAD597}" srcOrd="1" destOrd="0" presId="urn:microsoft.com/office/officeart/2005/8/layout/lProcess2"/>
    <dgm:cxn modelId="{14A1609C-4D1F-4B84-90E2-AD368562D53C}" type="presParOf" srcId="{FE45AB29-86BB-B945-BC32-4ABE2F8C1CFF}" destId="{07BD2CA6-1B5E-2143-8E69-23BF8DD0A5E8}" srcOrd="2" destOrd="0" presId="urn:microsoft.com/office/officeart/2005/8/layout/lProcess2"/>
    <dgm:cxn modelId="{6A04A480-A8D4-480E-B5E4-129FA849AC6D}" type="presParOf" srcId="{07BD2CA6-1B5E-2143-8E69-23BF8DD0A5E8}" destId="{5F5C2AD4-440A-FF44-A9AC-FDE65AD73D73}" srcOrd="0" destOrd="0" presId="urn:microsoft.com/office/officeart/2005/8/layout/lProcess2"/>
    <dgm:cxn modelId="{6DFE8AC2-571F-4EA9-B6A4-AB0635746209}" type="presParOf" srcId="{5F5C2AD4-440A-FF44-A9AC-FDE65AD73D73}" destId="{CBAFA610-556B-7E44-93A8-B05B1C8A0D0A}" srcOrd="0" destOrd="0" presId="urn:microsoft.com/office/officeart/2005/8/layout/lProcess2"/>
    <dgm:cxn modelId="{624DB30C-8D66-4908-BF76-221D7F345DB5}" type="presParOf" srcId="{F752FE16-A4F7-8A46-BCB9-A8A7705EC0E9}" destId="{EA5E3273-E5E5-8344-BD81-306BF1B98087}" srcOrd="11" destOrd="0" presId="urn:microsoft.com/office/officeart/2005/8/layout/lProcess2"/>
    <dgm:cxn modelId="{EB94E9F8-3291-4564-BCBB-E8A295DADF6C}" type="presParOf" srcId="{F752FE16-A4F7-8A46-BCB9-A8A7705EC0E9}" destId="{B4750885-A58F-9041-AAC9-9DE5A50CF668}" srcOrd="12" destOrd="0" presId="urn:microsoft.com/office/officeart/2005/8/layout/lProcess2"/>
    <dgm:cxn modelId="{6385702E-9E2B-4A82-BAFA-650DD038ACA3}" type="presParOf" srcId="{B4750885-A58F-9041-AAC9-9DE5A50CF668}" destId="{AB794DF4-106E-C24E-9AE8-14A804097BC6}" srcOrd="0" destOrd="0" presId="urn:microsoft.com/office/officeart/2005/8/layout/lProcess2"/>
    <dgm:cxn modelId="{2A7F2CAA-65D7-4E3C-ACEA-D9B2FC2660B6}" type="presParOf" srcId="{B4750885-A58F-9041-AAC9-9DE5A50CF668}" destId="{8BBF9131-15D6-1045-8366-E80F397F88D9}" srcOrd="1" destOrd="0" presId="urn:microsoft.com/office/officeart/2005/8/layout/lProcess2"/>
    <dgm:cxn modelId="{F40CE803-E1B4-4790-878D-360D3FFB81D9}" type="presParOf" srcId="{B4750885-A58F-9041-AAC9-9DE5A50CF668}" destId="{8CD70EA7-92C2-F44A-8111-E7592DB484F0}" srcOrd="2" destOrd="0" presId="urn:microsoft.com/office/officeart/2005/8/layout/lProcess2"/>
    <dgm:cxn modelId="{7FA79F79-6427-4650-8B74-D0D256C82EA8}" type="presParOf" srcId="{8CD70EA7-92C2-F44A-8111-E7592DB484F0}" destId="{3987224E-29A0-F54D-918E-8D46A0451FA6}" srcOrd="0" destOrd="0" presId="urn:microsoft.com/office/officeart/2005/8/layout/lProcess2"/>
    <dgm:cxn modelId="{3B8CDEA6-79A6-4F22-84CC-DD52A675820C}" type="presParOf" srcId="{3987224E-29A0-F54D-918E-8D46A0451FA6}" destId="{AB7F4627-C70C-C348-B8BA-3FEDC730F870}" srcOrd="0" destOrd="0" presId="urn:microsoft.com/office/officeart/2005/8/layout/lProcess2"/>
    <dgm:cxn modelId="{390D25B1-CF47-41A8-B65D-5BE8B13114DD}" type="presParOf" srcId="{3987224E-29A0-F54D-918E-8D46A0451FA6}" destId="{874C50FF-413F-A94A-8D51-A2849EC50B45}" srcOrd="1" destOrd="0" presId="urn:microsoft.com/office/officeart/2005/8/layout/lProcess2"/>
    <dgm:cxn modelId="{D52E0CD0-57F0-4B3D-8B88-607E4F729331}" type="presParOf" srcId="{3987224E-29A0-F54D-918E-8D46A0451FA6}" destId="{3FEC3199-2718-794C-B7B1-85E47155598A}" srcOrd="2" destOrd="0" presId="urn:microsoft.com/office/officeart/2005/8/layout/lProcess2"/>
    <dgm:cxn modelId="{3AFC9FAA-491C-48AD-8408-0220261C583C}" type="presParOf" srcId="{3987224E-29A0-F54D-918E-8D46A0451FA6}" destId="{CA84D58C-6C63-4944-B756-F84C763C0599}" srcOrd="3" destOrd="0" presId="urn:microsoft.com/office/officeart/2005/8/layout/lProcess2"/>
    <dgm:cxn modelId="{2C844E6A-CBDB-4229-BC3F-66056D24FDD4}" type="presParOf" srcId="{3987224E-29A0-F54D-918E-8D46A0451FA6}" destId="{A20B97CC-39F9-394B-8805-D6B14FEE6DF5}" srcOrd="4" destOrd="0" presId="urn:microsoft.com/office/officeart/2005/8/layout/lProcess2"/>
    <dgm:cxn modelId="{678E9F36-724D-4A9A-A0AE-59B63A6A6DBF}" type="presParOf" srcId="{3987224E-29A0-F54D-918E-8D46A0451FA6}" destId="{78ADF2B3-ED02-FE4D-A390-B44179E61FC8}" srcOrd="5" destOrd="0" presId="urn:microsoft.com/office/officeart/2005/8/layout/lProcess2"/>
    <dgm:cxn modelId="{BDD02A39-16A9-44CB-A951-8352C1B68927}" type="presParOf" srcId="{3987224E-29A0-F54D-918E-8D46A0451FA6}" destId="{BC5D1FD1-CB45-9542-A702-DFB03ECAE047}" srcOrd="6" destOrd="0" presId="urn:microsoft.com/office/officeart/2005/8/layout/lProcess2"/>
    <dgm:cxn modelId="{8030E3EC-8EF2-4A81-918F-1AD0A8A04AD2}" type="presParOf" srcId="{3987224E-29A0-F54D-918E-8D46A0451FA6}" destId="{21FF0EE3-FAC8-E24B-A162-0748B9D0A6D2}" srcOrd="7" destOrd="0" presId="urn:microsoft.com/office/officeart/2005/8/layout/lProcess2"/>
    <dgm:cxn modelId="{44DF8072-3AEA-4B04-812C-70625559B2C0}" type="presParOf" srcId="{3987224E-29A0-F54D-918E-8D46A0451FA6}" destId="{6F27F464-DEA2-F946-9AB1-ACC70B0A7D49}" srcOrd="8" destOrd="0" presId="urn:microsoft.com/office/officeart/2005/8/layout/lProcess2"/>
    <dgm:cxn modelId="{0E70050D-E3F3-4248-AA0E-CB99611E4C80}" type="presParOf" srcId="{F752FE16-A4F7-8A46-BCB9-A8A7705EC0E9}" destId="{F6DBBD3D-140D-5F46-82A3-F3E2DCD88D5E}" srcOrd="13" destOrd="0" presId="urn:microsoft.com/office/officeart/2005/8/layout/lProcess2"/>
    <dgm:cxn modelId="{E1699E2D-5A36-4E8D-B2F6-003A09B46EE5}" type="presParOf" srcId="{F752FE16-A4F7-8A46-BCB9-A8A7705EC0E9}" destId="{FFCD5CCB-922D-9F49-8072-F55576A05130}" srcOrd="14" destOrd="0" presId="urn:microsoft.com/office/officeart/2005/8/layout/lProcess2"/>
    <dgm:cxn modelId="{5548652D-2FE7-40B9-BA1D-391D8397D476}" type="presParOf" srcId="{FFCD5CCB-922D-9F49-8072-F55576A05130}" destId="{235D035F-0A34-1448-A08B-25E5BD3576AD}" srcOrd="0" destOrd="0" presId="urn:microsoft.com/office/officeart/2005/8/layout/lProcess2"/>
    <dgm:cxn modelId="{DDB96FBE-634E-45DD-836B-511DFF3E8852}" type="presParOf" srcId="{FFCD5CCB-922D-9F49-8072-F55576A05130}" destId="{216F8EAF-97C0-8A4A-B6D9-0A241BA98570}" srcOrd="1" destOrd="0" presId="urn:microsoft.com/office/officeart/2005/8/layout/lProcess2"/>
    <dgm:cxn modelId="{4992771F-E8AC-41D4-AF8D-EEEA693A286A}" type="presParOf" srcId="{FFCD5CCB-922D-9F49-8072-F55576A05130}" destId="{4B96A565-E19E-5647-862D-F5E7A8507A8D}" srcOrd="2" destOrd="0" presId="urn:microsoft.com/office/officeart/2005/8/layout/lProcess2"/>
    <dgm:cxn modelId="{9FACA772-F290-4BD6-BF65-687228B3E591}" type="presParOf" srcId="{4B96A565-E19E-5647-862D-F5E7A8507A8D}" destId="{C305E100-90E2-2546-BE50-41AC486025C1}" srcOrd="0" destOrd="0" presId="urn:microsoft.com/office/officeart/2005/8/layout/lProcess2"/>
    <dgm:cxn modelId="{9A8C9319-F0CF-450D-A0B9-E675ACBEF676}" type="presParOf" srcId="{C305E100-90E2-2546-BE50-41AC486025C1}" destId="{FDA4B58C-55C1-054F-9A48-207E157191A2}" srcOrd="0" destOrd="0" presId="urn:microsoft.com/office/officeart/2005/8/layout/lProcess2"/>
    <dgm:cxn modelId="{D5DE6A0E-53E7-4129-A644-3936B8CA6624}" type="presParOf" srcId="{C305E100-90E2-2546-BE50-41AC486025C1}" destId="{D843B429-85F6-4DB4-BB4A-AD89D03BFBDD}" srcOrd="1" destOrd="0" presId="urn:microsoft.com/office/officeart/2005/8/layout/lProcess2"/>
    <dgm:cxn modelId="{D56168B5-9F79-4C0C-AD0E-44661DEE47C1}" type="presParOf" srcId="{C305E100-90E2-2546-BE50-41AC486025C1}" destId="{59CCDBF5-1243-4882-B0EA-2A13AC4C7219}"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2D13DE-7BCD-4DA1-A655-F0AB4108EF8F}">
      <dsp:nvSpPr>
        <dsp:cNvPr id="0" name=""/>
        <dsp:cNvSpPr/>
      </dsp:nvSpPr>
      <dsp:spPr>
        <a:xfrm>
          <a:off x="-16" y="0"/>
          <a:ext cx="8822061" cy="4531794"/>
        </a:xfrm>
        <a:prstGeom prst="swooshArrow">
          <a:avLst>
            <a:gd name="adj1" fmla="val 25000"/>
            <a:gd name="adj2" fmla="val 25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E19528-BF3E-4693-B7F2-B97EA0BC7223}">
      <dsp:nvSpPr>
        <dsp:cNvPr id="0" name=""/>
        <dsp:cNvSpPr/>
      </dsp:nvSpPr>
      <dsp:spPr>
        <a:xfrm>
          <a:off x="344248" y="3908478"/>
          <a:ext cx="188522" cy="188522"/>
        </a:xfrm>
        <a:prstGeom prst="ellipse">
          <a:avLst/>
        </a:prstGeom>
        <a:solidFill>
          <a:srgbClr val="FFC000"/>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04C02E-968B-4363-9974-99569FBE8317}">
      <dsp:nvSpPr>
        <dsp:cNvPr id="0" name=""/>
        <dsp:cNvSpPr/>
      </dsp:nvSpPr>
      <dsp:spPr>
        <a:xfrm>
          <a:off x="454046" y="3647191"/>
          <a:ext cx="1748972" cy="8711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894" tIns="0" rIns="0" bIns="0" numCol="1" spcCol="1270" anchor="t" anchorCtr="0">
          <a:noAutofit/>
        </a:bodyPr>
        <a:lstStyle/>
        <a:p>
          <a:pPr lvl="0" algn="l" defTabSz="666750">
            <a:lnSpc>
              <a:spcPct val="90000"/>
            </a:lnSpc>
            <a:spcBef>
              <a:spcPct val="0"/>
            </a:spcBef>
            <a:spcAft>
              <a:spcPct val="35000"/>
            </a:spcAft>
          </a:pPr>
          <a:endParaRPr lang="en-ZA" sz="1500" b="1" kern="1200" dirty="0">
            <a:solidFill>
              <a:schemeClr val="tx1"/>
            </a:solidFill>
            <a:latin typeface="Arial Narrow" panose="020B0606020202030204" pitchFamily="34" charset="0"/>
          </a:endParaRPr>
        </a:p>
      </dsp:txBody>
      <dsp:txXfrm>
        <a:off x="454046" y="3647191"/>
        <a:ext cx="1748972" cy="871126"/>
      </dsp:txXfrm>
    </dsp:sp>
    <dsp:sp modelId="{DE629702-96FF-4EB9-9FC9-F89E26F07B79}">
      <dsp:nvSpPr>
        <dsp:cNvPr id="0" name=""/>
        <dsp:cNvSpPr/>
      </dsp:nvSpPr>
      <dsp:spPr>
        <a:xfrm>
          <a:off x="1638138" y="2692244"/>
          <a:ext cx="340790" cy="340790"/>
        </a:xfrm>
        <a:prstGeom prst="ellipse">
          <a:avLst/>
        </a:prstGeom>
        <a:solidFill>
          <a:srgbClr val="FFC000"/>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6A1A05-2200-45BD-AF72-593A1FA585F1}">
      <dsp:nvSpPr>
        <dsp:cNvPr id="0" name=""/>
        <dsp:cNvSpPr/>
      </dsp:nvSpPr>
      <dsp:spPr>
        <a:xfrm>
          <a:off x="656670" y="3786769"/>
          <a:ext cx="2242990" cy="5648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0578" tIns="0" rIns="0" bIns="0" numCol="1" spcCol="1270" anchor="t" anchorCtr="0">
          <a:noAutofit/>
        </a:bodyPr>
        <a:lstStyle/>
        <a:p>
          <a:pPr lvl="0" algn="l" defTabSz="666750">
            <a:lnSpc>
              <a:spcPct val="90000"/>
            </a:lnSpc>
            <a:spcBef>
              <a:spcPct val="0"/>
            </a:spcBef>
            <a:spcAft>
              <a:spcPct val="35000"/>
            </a:spcAft>
          </a:pPr>
          <a:r>
            <a:rPr lang="en-ZA" sz="1500" b="1" kern="1200" dirty="0">
              <a:solidFill>
                <a:schemeClr val="tx1"/>
              </a:solidFill>
              <a:latin typeface="Arial Narrow" panose="020B0606020202030204" pitchFamily="34" charset="0"/>
            </a:rPr>
            <a:t>2011</a:t>
          </a:r>
        </a:p>
        <a:p>
          <a:pPr marL="171450" lvl="0" indent="-171450" algn="l" defTabSz="914400" rtl="0" eaLnBrk="1" latinLnBrk="0" hangingPunct="1">
            <a:lnSpc>
              <a:spcPct val="90000"/>
            </a:lnSpc>
            <a:spcBef>
              <a:spcPct val="0"/>
            </a:spcBef>
            <a:spcAft>
              <a:spcPts val="0"/>
            </a:spcAft>
            <a:buFont typeface="Arial" panose="020B0604020202020204" pitchFamily="34" charset="0"/>
            <a:buChar char="•"/>
          </a:pPr>
          <a:r>
            <a:rPr lang="en-ZA" sz="1100" b="1" kern="1200" dirty="0">
              <a:solidFill>
                <a:schemeClr val="dk1"/>
              </a:solidFill>
              <a:latin typeface="+mn-lt"/>
              <a:ea typeface="+mn-ea"/>
              <a:cs typeface="+mn-cs"/>
            </a:rPr>
            <a:t>National Treasury grants PMTE permission to buy Billing and Accounting solution</a:t>
          </a:r>
        </a:p>
      </dsp:txBody>
      <dsp:txXfrm>
        <a:off x="656670" y="3786769"/>
        <a:ext cx="2242990" cy="564873"/>
      </dsp:txXfrm>
    </dsp:sp>
    <dsp:sp modelId="{929C5021-4A9F-429D-B359-90659C698B79}">
      <dsp:nvSpPr>
        <dsp:cNvPr id="0" name=""/>
        <dsp:cNvSpPr/>
      </dsp:nvSpPr>
      <dsp:spPr>
        <a:xfrm>
          <a:off x="5481409" y="3348040"/>
          <a:ext cx="471306" cy="471306"/>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966A047-A840-4C24-91D2-6BD2BFDFF1EE}">
      <dsp:nvSpPr>
        <dsp:cNvPr id="0" name=""/>
        <dsp:cNvSpPr/>
      </dsp:nvSpPr>
      <dsp:spPr>
        <a:xfrm>
          <a:off x="7057854" y="768813"/>
          <a:ext cx="1740208" cy="3321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9736" tIns="0" rIns="0" bIns="0" numCol="1" spcCol="1270" anchor="t" anchorCtr="0">
          <a:noAutofit/>
        </a:bodyPr>
        <a:lstStyle/>
        <a:p>
          <a:pPr lvl="0" algn="l" defTabSz="666750">
            <a:lnSpc>
              <a:spcPct val="90000"/>
            </a:lnSpc>
            <a:spcBef>
              <a:spcPct val="0"/>
            </a:spcBef>
            <a:spcAft>
              <a:spcPct val="35000"/>
            </a:spcAft>
          </a:pPr>
          <a:r>
            <a:rPr lang="en-ZA" sz="1500" b="1" kern="1200" dirty="0">
              <a:solidFill>
                <a:schemeClr val="tx1"/>
              </a:solidFill>
              <a:latin typeface="Arial Narrow" panose="020B0606020202030204" pitchFamily="34" charset="0"/>
            </a:rPr>
            <a:t>2014</a:t>
          </a:r>
        </a:p>
        <a:p>
          <a:pPr marL="171450" lvl="0" indent="-171450" algn="l" defTabSz="914400" rtl="0" eaLnBrk="1" latinLnBrk="0" hangingPunct="1">
            <a:lnSpc>
              <a:spcPct val="90000"/>
            </a:lnSpc>
            <a:spcBef>
              <a:spcPct val="0"/>
            </a:spcBef>
            <a:spcAft>
              <a:spcPct val="35000"/>
            </a:spcAft>
            <a:buFont typeface="Arial" panose="020B0604020202020204" pitchFamily="34" charset="0"/>
            <a:buChar char="•"/>
          </a:pPr>
          <a:r>
            <a:rPr lang="en-ZA" sz="1100" b="1" kern="1200" dirty="0">
              <a:solidFill>
                <a:schemeClr val="dk1"/>
              </a:solidFill>
              <a:latin typeface="+mn-lt"/>
              <a:ea typeface="+mn-ea"/>
              <a:cs typeface="+mn-cs"/>
            </a:rPr>
            <a:t>SAGE went live with Billing and Accounting modules</a:t>
          </a:r>
        </a:p>
      </dsp:txBody>
      <dsp:txXfrm>
        <a:off x="7057854" y="768813"/>
        <a:ext cx="1740208" cy="3321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2D13DE-7BCD-4DA1-A655-F0AB4108EF8F}">
      <dsp:nvSpPr>
        <dsp:cNvPr id="0" name=""/>
        <dsp:cNvSpPr/>
      </dsp:nvSpPr>
      <dsp:spPr>
        <a:xfrm>
          <a:off x="219590" y="0"/>
          <a:ext cx="9120287" cy="4531793"/>
        </a:xfrm>
        <a:prstGeom prst="swooshArrow">
          <a:avLst>
            <a:gd name="adj1" fmla="val 25000"/>
            <a:gd name="adj2" fmla="val 25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E19528-BF3E-4693-B7F2-B97EA0BC7223}">
      <dsp:nvSpPr>
        <dsp:cNvPr id="0" name=""/>
        <dsp:cNvSpPr/>
      </dsp:nvSpPr>
      <dsp:spPr>
        <a:xfrm>
          <a:off x="723166" y="3767547"/>
          <a:ext cx="188522" cy="188522"/>
        </a:xfrm>
        <a:prstGeom prst="ellipse">
          <a:avLst/>
        </a:prstGeom>
        <a:solidFill>
          <a:srgbClr val="FFC000"/>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04C02E-968B-4363-9974-99569FBE8317}">
      <dsp:nvSpPr>
        <dsp:cNvPr id="0" name=""/>
        <dsp:cNvSpPr/>
      </dsp:nvSpPr>
      <dsp:spPr>
        <a:xfrm>
          <a:off x="768483" y="3890124"/>
          <a:ext cx="5210930" cy="6416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894" tIns="0" rIns="0" bIns="0" numCol="1" spcCol="1270" anchor="t" anchorCtr="0">
          <a:noAutofit/>
        </a:bodyPr>
        <a:lstStyle/>
        <a:p>
          <a:pPr lvl="0" algn="l" defTabSz="666750">
            <a:lnSpc>
              <a:spcPct val="90000"/>
            </a:lnSpc>
            <a:spcBef>
              <a:spcPct val="0"/>
            </a:spcBef>
            <a:spcAft>
              <a:spcPct val="35000"/>
            </a:spcAft>
          </a:pPr>
          <a:r>
            <a:rPr lang="en-ZA" sz="1500" b="1" kern="1200" dirty="0">
              <a:solidFill>
                <a:schemeClr val="tx1"/>
              </a:solidFill>
              <a:latin typeface="Arial Narrow" panose="020B0606020202030204" pitchFamily="34" charset="0"/>
            </a:rPr>
            <a:t>2015</a:t>
          </a:r>
        </a:p>
        <a:p>
          <a:pPr marL="171450" lvl="0" indent="-171450" algn="l" defTabSz="914400" rtl="0" eaLnBrk="1" latinLnBrk="0" hangingPunct="1">
            <a:lnSpc>
              <a:spcPct val="90000"/>
            </a:lnSpc>
            <a:spcBef>
              <a:spcPct val="0"/>
            </a:spcBef>
            <a:spcAft>
              <a:spcPts val="0"/>
            </a:spcAft>
            <a:buFont typeface="Arial" panose="020B0604020202020204" pitchFamily="34" charset="0"/>
            <a:buChar char="•"/>
          </a:pPr>
          <a:r>
            <a:rPr lang="en-ZA" sz="1100" b="1" kern="1200" dirty="0">
              <a:solidFill>
                <a:schemeClr val="dk1"/>
              </a:solidFill>
              <a:latin typeface="+mn-lt"/>
              <a:ea typeface="+mn-ea"/>
              <a:cs typeface="+mn-cs"/>
            </a:rPr>
            <a:t>The Department opted to increase the SAGE scope of work to include Lease IN, Lease OUT and Variable payment modules. </a:t>
          </a:r>
        </a:p>
      </dsp:txBody>
      <dsp:txXfrm>
        <a:off x="768483" y="3890124"/>
        <a:ext cx="5210930" cy="641668"/>
      </dsp:txXfrm>
    </dsp:sp>
    <dsp:sp modelId="{DE629702-96FF-4EB9-9FC9-F89E26F07B79}">
      <dsp:nvSpPr>
        <dsp:cNvPr id="0" name=""/>
        <dsp:cNvSpPr/>
      </dsp:nvSpPr>
      <dsp:spPr>
        <a:xfrm>
          <a:off x="2249527" y="2472198"/>
          <a:ext cx="340790" cy="340790"/>
        </a:xfrm>
        <a:prstGeom prst="ellipse">
          <a:avLst/>
        </a:prstGeom>
        <a:solidFill>
          <a:srgbClr val="FFC000"/>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6A1A05-2200-45BD-AF72-593A1FA585F1}">
      <dsp:nvSpPr>
        <dsp:cNvPr id="0" name=""/>
        <dsp:cNvSpPr/>
      </dsp:nvSpPr>
      <dsp:spPr>
        <a:xfrm>
          <a:off x="0" y="244681"/>
          <a:ext cx="1740208" cy="21729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0578" tIns="0" rIns="0" bIns="0" numCol="1" spcCol="1270" anchor="t" anchorCtr="0">
          <a:noAutofit/>
        </a:bodyPr>
        <a:lstStyle/>
        <a:p>
          <a:pPr lvl="0" algn="l" defTabSz="533400">
            <a:lnSpc>
              <a:spcPct val="90000"/>
            </a:lnSpc>
            <a:spcBef>
              <a:spcPct val="0"/>
            </a:spcBef>
            <a:spcAft>
              <a:spcPct val="35000"/>
            </a:spcAft>
          </a:pPr>
          <a:endParaRPr lang="en-ZA" sz="1200" kern="1200" dirty="0">
            <a:solidFill>
              <a:schemeClr val="tx1"/>
            </a:solidFill>
            <a:latin typeface="Arial Narrow" panose="020B0606020202030204" pitchFamily="34" charset="0"/>
          </a:endParaRPr>
        </a:p>
        <a:p>
          <a:pPr lvl="0" algn="l" defTabSz="533400">
            <a:lnSpc>
              <a:spcPct val="90000"/>
            </a:lnSpc>
            <a:spcBef>
              <a:spcPct val="0"/>
            </a:spcBef>
            <a:spcAft>
              <a:spcPct val="35000"/>
            </a:spcAft>
          </a:pPr>
          <a:endParaRPr lang="en-ZA" sz="1500" kern="1200" dirty="0">
            <a:solidFill>
              <a:srgbClr val="0070C0"/>
            </a:solidFill>
            <a:latin typeface="Arial Narrow" panose="020B0606020202030204" pitchFamily="34" charset="0"/>
          </a:endParaRPr>
        </a:p>
      </dsp:txBody>
      <dsp:txXfrm>
        <a:off x="0" y="244681"/>
        <a:ext cx="1740208" cy="2172936"/>
      </dsp:txXfrm>
    </dsp:sp>
    <dsp:sp modelId="{929C5021-4A9F-429D-B359-90659C698B79}">
      <dsp:nvSpPr>
        <dsp:cNvPr id="0" name=""/>
        <dsp:cNvSpPr/>
      </dsp:nvSpPr>
      <dsp:spPr>
        <a:xfrm>
          <a:off x="4316820" y="1576917"/>
          <a:ext cx="471306" cy="471306"/>
        </a:xfrm>
        <a:prstGeom prst="ellipse">
          <a:avLst/>
        </a:prstGeom>
        <a:solidFill>
          <a:srgbClr val="FFC000"/>
        </a:solidFill>
        <a:ln w="12700" cap="flat" cmpd="sng" algn="ctr">
          <a:solidFill>
            <a:schemeClr val="bg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66A047-A840-4C24-91D2-6BD2BFDFF1EE}">
      <dsp:nvSpPr>
        <dsp:cNvPr id="0" name=""/>
        <dsp:cNvSpPr/>
      </dsp:nvSpPr>
      <dsp:spPr>
        <a:xfrm>
          <a:off x="3227627" y="1621219"/>
          <a:ext cx="6139438" cy="21131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9736" tIns="0" rIns="0" bIns="0" numCol="1" spcCol="1270" anchor="t" anchorCtr="0">
          <a:noAutofit/>
        </a:bodyPr>
        <a:lstStyle/>
        <a:p>
          <a:pPr lvl="0" algn="l" defTabSz="666750">
            <a:lnSpc>
              <a:spcPct val="90000"/>
            </a:lnSpc>
            <a:spcBef>
              <a:spcPct val="0"/>
            </a:spcBef>
            <a:spcAft>
              <a:spcPct val="35000"/>
            </a:spcAft>
          </a:pPr>
          <a:r>
            <a:rPr lang="en-ZA" sz="1500" b="1" kern="1200" dirty="0">
              <a:solidFill>
                <a:schemeClr val="tx1"/>
              </a:solidFill>
              <a:latin typeface="Arial Narrow" panose="020B0606020202030204" pitchFamily="34" charset="0"/>
            </a:rPr>
            <a:t>2017</a:t>
          </a:r>
        </a:p>
        <a:p>
          <a:pPr marL="171450" lvl="0" indent="-171450" algn="l" defTabSz="914400" rtl="0" eaLnBrk="1" latinLnBrk="0" hangingPunct="1">
            <a:lnSpc>
              <a:spcPct val="90000"/>
            </a:lnSpc>
            <a:spcBef>
              <a:spcPct val="0"/>
            </a:spcBef>
            <a:spcAft>
              <a:spcPts val="0"/>
            </a:spcAft>
            <a:buFont typeface="Arial" panose="020B0604020202020204" pitchFamily="34" charset="0"/>
            <a:buChar char="•"/>
          </a:pPr>
          <a:r>
            <a:rPr lang="en-ZA" sz="1100" b="1" kern="1200" dirty="0">
              <a:solidFill>
                <a:schemeClr val="dk1"/>
              </a:solidFill>
              <a:latin typeface="+mn-lt"/>
              <a:ea typeface="+mn-ea"/>
              <a:cs typeface="+mn-cs"/>
            </a:rPr>
            <a:t>2017: Deloitte poor performance due to inability to do </a:t>
          </a:r>
          <a:r>
            <a:rPr lang="en-ZA" sz="1100" b="1" kern="1200" dirty="0" err="1">
              <a:solidFill>
                <a:schemeClr val="dk1"/>
              </a:solidFill>
              <a:latin typeface="+mn-lt"/>
              <a:ea typeface="+mn-ea"/>
              <a:cs typeface="+mn-cs"/>
            </a:rPr>
            <a:t>leaseIN</a:t>
          </a:r>
          <a:r>
            <a:rPr lang="en-ZA" sz="1100" b="1" kern="1200" dirty="0">
              <a:solidFill>
                <a:schemeClr val="dk1"/>
              </a:solidFill>
              <a:latin typeface="+mn-lt"/>
              <a:ea typeface="+mn-ea"/>
              <a:cs typeface="+mn-cs"/>
            </a:rPr>
            <a:t> module, ICT Steering Committee decides to release them from delivery of the Lease Out module on condition that they finish the outstanding issues on SAGE by 28 Feb 2018.</a:t>
          </a:r>
        </a:p>
        <a:p>
          <a:pPr marL="171450" lvl="0" indent="-171450" algn="l" defTabSz="914400" rtl="0" eaLnBrk="1" latinLnBrk="0" hangingPunct="1">
            <a:lnSpc>
              <a:spcPct val="90000"/>
            </a:lnSpc>
            <a:spcBef>
              <a:spcPct val="0"/>
            </a:spcBef>
            <a:spcAft>
              <a:spcPts val="0"/>
            </a:spcAft>
            <a:buFont typeface="Arial" panose="020B0604020202020204" pitchFamily="34" charset="0"/>
            <a:buChar char="•"/>
          </a:pPr>
          <a:r>
            <a:rPr lang="en-ZA" sz="1100" b="1" kern="1200" dirty="0">
              <a:solidFill>
                <a:schemeClr val="dk1"/>
              </a:solidFill>
              <a:latin typeface="+mn-lt"/>
              <a:ea typeface="+mn-ea"/>
              <a:cs typeface="+mn-cs"/>
            </a:rPr>
            <a:t>ALCM appointed through an open tender (01 August 2017 – 31 July 2019</a:t>
          </a:r>
        </a:p>
      </dsp:txBody>
      <dsp:txXfrm>
        <a:off x="3227627" y="1621219"/>
        <a:ext cx="6139438" cy="21131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134F4B-16C6-4688-8765-46F4AC4C78F2}">
      <dsp:nvSpPr>
        <dsp:cNvPr id="0" name=""/>
        <dsp:cNvSpPr/>
      </dsp:nvSpPr>
      <dsp:spPr>
        <a:xfrm>
          <a:off x="0" y="0"/>
          <a:ext cx="9342021" cy="4313031"/>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1160" tIns="391160" rIns="391160" bIns="391160" numCol="1" spcCol="1270" anchor="ctr" anchorCtr="0">
          <a:noAutofit/>
        </a:bodyPr>
        <a:lstStyle/>
        <a:p>
          <a:pPr lvl="0" algn="ctr" defTabSz="2444750">
            <a:lnSpc>
              <a:spcPct val="90000"/>
            </a:lnSpc>
            <a:spcBef>
              <a:spcPct val="0"/>
            </a:spcBef>
            <a:spcAft>
              <a:spcPct val="35000"/>
            </a:spcAft>
          </a:pPr>
          <a:r>
            <a:rPr lang="en-ZA" sz="5500" kern="1200" dirty="0"/>
            <a:t>Immovable Asset Register (79.4%)</a:t>
          </a:r>
        </a:p>
      </dsp:txBody>
      <dsp:txXfrm>
        <a:off x="0" y="0"/>
        <a:ext cx="9342021" cy="2329036"/>
      </dsp:txXfrm>
    </dsp:sp>
    <dsp:sp modelId="{8768265E-770E-42B5-9AD7-DDF11109A8DA}">
      <dsp:nvSpPr>
        <dsp:cNvPr id="0" name=""/>
        <dsp:cNvSpPr/>
      </dsp:nvSpPr>
      <dsp:spPr>
        <a:xfrm>
          <a:off x="4561" y="2242776"/>
          <a:ext cx="1555482" cy="1983994"/>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ZA" sz="1100" kern="1200" dirty="0"/>
            <a:t>Lease Management (96.4%)</a:t>
          </a:r>
        </a:p>
      </dsp:txBody>
      <dsp:txXfrm>
        <a:off x="4561" y="2242776"/>
        <a:ext cx="1555482" cy="1983994"/>
      </dsp:txXfrm>
    </dsp:sp>
    <dsp:sp modelId="{53C62269-1B9D-4F6A-80C4-2970613A1A22}">
      <dsp:nvSpPr>
        <dsp:cNvPr id="0" name=""/>
        <dsp:cNvSpPr/>
      </dsp:nvSpPr>
      <dsp:spPr>
        <a:xfrm>
          <a:off x="1560044" y="2242776"/>
          <a:ext cx="1555482" cy="1983994"/>
        </a:xfrm>
        <a:prstGeom prst="rect">
          <a:avLst/>
        </a:prstGeom>
        <a:solidFill>
          <a:schemeClr val="accent5">
            <a:tint val="40000"/>
            <a:alpha val="90000"/>
            <a:hueOff val="-2820979"/>
            <a:satOff val="5310"/>
            <a:lumOff val="803"/>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ZA" sz="1100" kern="1200" dirty="0"/>
            <a:t>Facilities Management(80%)</a:t>
          </a:r>
        </a:p>
      </dsp:txBody>
      <dsp:txXfrm>
        <a:off x="1560044" y="2242776"/>
        <a:ext cx="1555482" cy="1983994"/>
      </dsp:txXfrm>
    </dsp:sp>
    <dsp:sp modelId="{25B247E7-4502-4E57-92BA-00A30676F243}">
      <dsp:nvSpPr>
        <dsp:cNvPr id="0" name=""/>
        <dsp:cNvSpPr/>
      </dsp:nvSpPr>
      <dsp:spPr>
        <a:xfrm>
          <a:off x="3115527" y="2242776"/>
          <a:ext cx="1555482" cy="1983994"/>
        </a:xfrm>
        <a:prstGeom prst="rect">
          <a:avLst/>
        </a:prstGeom>
        <a:solidFill>
          <a:schemeClr val="accent5">
            <a:tint val="40000"/>
            <a:alpha val="90000"/>
            <a:hueOff val="-5641959"/>
            <a:satOff val="10621"/>
            <a:lumOff val="1606"/>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ZA" sz="1100" kern="1200" dirty="0"/>
            <a:t>Movable Asset Management(80%)</a:t>
          </a:r>
        </a:p>
      </dsp:txBody>
      <dsp:txXfrm>
        <a:off x="3115527" y="2242776"/>
        <a:ext cx="1555482" cy="1983994"/>
      </dsp:txXfrm>
    </dsp:sp>
    <dsp:sp modelId="{D1481706-D594-444E-B415-C4B854167A59}">
      <dsp:nvSpPr>
        <dsp:cNvPr id="0" name=""/>
        <dsp:cNvSpPr/>
      </dsp:nvSpPr>
      <dsp:spPr>
        <a:xfrm>
          <a:off x="4671010" y="2242776"/>
          <a:ext cx="1555482" cy="1983994"/>
        </a:xfrm>
        <a:prstGeom prst="rect">
          <a:avLst/>
        </a:prstGeom>
        <a:solidFill>
          <a:schemeClr val="accent5">
            <a:tint val="40000"/>
            <a:alpha val="90000"/>
            <a:hueOff val="-8462939"/>
            <a:satOff val="15931"/>
            <a:lumOff val="241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ZA" sz="1100" kern="1200" dirty="0"/>
            <a:t>Construction Projects and budgeting (74%)</a:t>
          </a:r>
        </a:p>
      </dsp:txBody>
      <dsp:txXfrm>
        <a:off x="4671010" y="2242776"/>
        <a:ext cx="1555482" cy="1983994"/>
      </dsp:txXfrm>
    </dsp:sp>
    <dsp:sp modelId="{95CA5C2F-9B64-4802-8BE6-2AAD6DA9A0FE}">
      <dsp:nvSpPr>
        <dsp:cNvPr id="0" name=""/>
        <dsp:cNvSpPr/>
      </dsp:nvSpPr>
      <dsp:spPr>
        <a:xfrm>
          <a:off x="6226493" y="2242776"/>
          <a:ext cx="1555482" cy="1983994"/>
        </a:xfrm>
        <a:prstGeom prst="rect">
          <a:avLst/>
        </a:prstGeom>
        <a:solidFill>
          <a:schemeClr val="accent5">
            <a:tint val="40000"/>
            <a:alpha val="90000"/>
            <a:hueOff val="-11283918"/>
            <a:satOff val="21242"/>
            <a:lumOff val="3213"/>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ZA" sz="1100" kern="1200" dirty="0"/>
            <a:t>UDM Client Relations Management (70%)</a:t>
          </a:r>
        </a:p>
      </dsp:txBody>
      <dsp:txXfrm>
        <a:off x="6226493" y="2242776"/>
        <a:ext cx="1555482" cy="1983994"/>
      </dsp:txXfrm>
    </dsp:sp>
    <dsp:sp modelId="{B82F6261-EC1E-41A4-880D-671A54FB9977}">
      <dsp:nvSpPr>
        <dsp:cNvPr id="0" name=""/>
        <dsp:cNvSpPr/>
      </dsp:nvSpPr>
      <dsp:spPr>
        <a:xfrm>
          <a:off x="7781976" y="2242776"/>
          <a:ext cx="1555482" cy="1983994"/>
        </a:xfrm>
        <a:prstGeom prst="rect">
          <a:avLst/>
        </a:prstGeom>
        <a:solidFill>
          <a:schemeClr val="accent5">
            <a:tint val="40000"/>
            <a:alpha val="90000"/>
            <a:hueOff val="-14104897"/>
            <a:satOff val="26552"/>
            <a:lumOff val="4016"/>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13970" rIns="78232" bIns="13970" numCol="1" spcCol="1270" anchor="ctr" anchorCtr="0">
          <a:noAutofit/>
        </a:bodyPr>
        <a:lstStyle/>
        <a:p>
          <a:pPr lvl="0" algn="ctr" defTabSz="488950">
            <a:lnSpc>
              <a:spcPct val="90000"/>
            </a:lnSpc>
            <a:spcBef>
              <a:spcPct val="0"/>
            </a:spcBef>
            <a:spcAft>
              <a:spcPct val="35000"/>
            </a:spcAft>
          </a:pPr>
          <a:r>
            <a:rPr lang="en-ZA" sz="1100" kern="1200" dirty="0"/>
            <a:t>SCM (41,5%)</a:t>
          </a:r>
        </a:p>
      </dsp:txBody>
      <dsp:txXfrm>
        <a:off x="7781976" y="2242776"/>
        <a:ext cx="1555482" cy="198399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C41E59-A53C-48A9-A162-6EDCF140B059}">
      <dsp:nvSpPr>
        <dsp:cNvPr id="0" name=""/>
        <dsp:cNvSpPr/>
      </dsp:nvSpPr>
      <dsp:spPr>
        <a:xfrm>
          <a:off x="4546" y="0"/>
          <a:ext cx="1595389" cy="370957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ZA" sz="1300" b="0" kern="1200" dirty="0">
              <a:solidFill>
                <a:schemeClr val="tx1"/>
              </a:solidFill>
            </a:rPr>
            <a:t>Manage Immovable Asset Register</a:t>
          </a:r>
          <a:endParaRPr lang="en-US" sz="1300" b="0" kern="1200" dirty="0">
            <a:solidFill>
              <a:schemeClr val="tx1"/>
            </a:solidFill>
          </a:endParaRPr>
        </a:p>
      </dsp:txBody>
      <dsp:txXfrm>
        <a:off x="4546" y="0"/>
        <a:ext cx="1595389" cy="1112873"/>
      </dsp:txXfrm>
    </dsp:sp>
    <dsp:sp modelId="{A5C85500-5BF5-46B6-9B70-DB130DEEF1DF}">
      <dsp:nvSpPr>
        <dsp:cNvPr id="0" name=""/>
        <dsp:cNvSpPr/>
      </dsp:nvSpPr>
      <dsp:spPr>
        <a:xfrm>
          <a:off x="133760" y="1133760"/>
          <a:ext cx="1276311" cy="356150"/>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Archibus</a:t>
          </a:r>
        </a:p>
      </dsp:txBody>
      <dsp:txXfrm>
        <a:off x="144191" y="1144191"/>
        <a:ext cx="1255449" cy="335288"/>
      </dsp:txXfrm>
    </dsp:sp>
    <dsp:sp modelId="{C491C004-1685-4467-A998-FC6F11DC8B1F}">
      <dsp:nvSpPr>
        <dsp:cNvPr id="0" name=""/>
        <dsp:cNvSpPr/>
      </dsp:nvSpPr>
      <dsp:spPr>
        <a:xfrm>
          <a:off x="133760" y="1544703"/>
          <a:ext cx="1276311" cy="3561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SAS</a:t>
          </a:r>
          <a:endParaRPr lang="en-US" sz="1400" b="1" kern="1200" dirty="0">
            <a:solidFill>
              <a:schemeClr val="tx1"/>
            </a:solidFill>
          </a:endParaRPr>
        </a:p>
      </dsp:txBody>
      <dsp:txXfrm>
        <a:off x="144191" y="1555134"/>
        <a:ext cx="1255449" cy="335288"/>
      </dsp:txXfrm>
    </dsp:sp>
    <dsp:sp modelId="{FD2D8352-49D9-469E-A230-DADBD117C807}">
      <dsp:nvSpPr>
        <dsp:cNvPr id="0" name=""/>
        <dsp:cNvSpPr/>
      </dsp:nvSpPr>
      <dsp:spPr>
        <a:xfrm>
          <a:off x="133760" y="1955646"/>
          <a:ext cx="1276311" cy="356150"/>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p>
      </dsp:txBody>
      <dsp:txXfrm>
        <a:off x="144191" y="1966077"/>
        <a:ext cx="1255449" cy="335288"/>
      </dsp:txXfrm>
    </dsp:sp>
    <dsp:sp modelId="{7C2A3AFD-33F7-4CD6-BDFE-94031EFA4F34}">
      <dsp:nvSpPr>
        <dsp:cNvPr id="0" name=""/>
        <dsp:cNvSpPr/>
      </dsp:nvSpPr>
      <dsp:spPr>
        <a:xfrm>
          <a:off x="133760" y="2366589"/>
          <a:ext cx="1276311" cy="356150"/>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MIS</a:t>
          </a:r>
        </a:p>
      </dsp:txBody>
      <dsp:txXfrm>
        <a:off x="144191" y="2377020"/>
        <a:ext cx="1255449" cy="335288"/>
      </dsp:txXfrm>
    </dsp:sp>
    <dsp:sp modelId="{722F5B64-A0D5-4F6E-808C-F85C07647CF2}">
      <dsp:nvSpPr>
        <dsp:cNvPr id="0" name=""/>
        <dsp:cNvSpPr/>
      </dsp:nvSpPr>
      <dsp:spPr>
        <a:xfrm>
          <a:off x="133760" y="2777531"/>
          <a:ext cx="1276311" cy="356150"/>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EXCEL</a:t>
          </a:r>
        </a:p>
      </dsp:txBody>
      <dsp:txXfrm>
        <a:off x="144191" y="2787962"/>
        <a:ext cx="1255449" cy="335288"/>
      </dsp:txXfrm>
    </dsp:sp>
    <dsp:sp modelId="{29FE16D1-80CD-4A39-AAAD-CCA2862CB320}">
      <dsp:nvSpPr>
        <dsp:cNvPr id="0" name=""/>
        <dsp:cNvSpPr/>
      </dsp:nvSpPr>
      <dsp:spPr>
        <a:xfrm>
          <a:off x="133760" y="3188474"/>
          <a:ext cx="1276311" cy="3561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GIS Syst</a:t>
          </a:r>
          <a:endParaRPr lang="en-US" sz="1400" b="1" kern="1200">
            <a:solidFill>
              <a:schemeClr val="tx1"/>
            </a:solidFill>
          </a:endParaRPr>
        </a:p>
      </dsp:txBody>
      <dsp:txXfrm>
        <a:off x="144191" y="3198905"/>
        <a:ext cx="1255449" cy="335288"/>
      </dsp:txXfrm>
    </dsp:sp>
    <dsp:sp modelId="{B8407922-97EB-490D-B881-2678AA595FC6}">
      <dsp:nvSpPr>
        <dsp:cNvPr id="0" name=""/>
        <dsp:cNvSpPr/>
      </dsp:nvSpPr>
      <dsp:spPr>
        <a:xfrm>
          <a:off x="1719589" y="0"/>
          <a:ext cx="1595389" cy="370957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ZA" sz="1300" b="0" kern="1200" dirty="0">
              <a:solidFill>
                <a:schemeClr val="tx1"/>
              </a:solidFill>
            </a:rPr>
            <a:t>Manage Immovable Asset Portfolio(Strategic Portfolio Demand)</a:t>
          </a:r>
          <a:endParaRPr lang="en-US" sz="1300" b="0" kern="1200" dirty="0">
            <a:solidFill>
              <a:schemeClr val="tx1"/>
            </a:solidFill>
          </a:endParaRPr>
        </a:p>
      </dsp:txBody>
      <dsp:txXfrm>
        <a:off x="1719589" y="0"/>
        <a:ext cx="1595389" cy="1112873"/>
      </dsp:txXfrm>
    </dsp:sp>
    <dsp:sp modelId="{68BFE3A2-6418-4BA3-94CC-7F9BD0E45243}">
      <dsp:nvSpPr>
        <dsp:cNvPr id="0" name=""/>
        <dsp:cNvSpPr/>
      </dsp:nvSpPr>
      <dsp:spPr>
        <a:xfrm>
          <a:off x="1848803" y="1133586"/>
          <a:ext cx="1276311" cy="2411226"/>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p>
      </dsp:txBody>
      <dsp:txXfrm>
        <a:off x="1886185" y="1170968"/>
        <a:ext cx="1201547" cy="2336462"/>
      </dsp:txXfrm>
    </dsp:sp>
    <dsp:sp modelId="{5B50CB7B-9099-49D3-ABC7-125DCA43CCD9}">
      <dsp:nvSpPr>
        <dsp:cNvPr id="0" name=""/>
        <dsp:cNvSpPr/>
      </dsp:nvSpPr>
      <dsp:spPr>
        <a:xfrm>
          <a:off x="3434632" y="0"/>
          <a:ext cx="1595389" cy="370957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ZA" sz="1300" b="0" kern="1200" dirty="0">
              <a:solidFill>
                <a:schemeClr val="tx1"/>
              </a:solidFill>
            </a:rPr>
            <a:t>Manage Immovable Asset Portfolio (Strategic </a:t>
          </a:r>
          <a:r>
            <a:rPr lang="en-US" sz="1300" b="0" kern="1200" dirty="0">
              <a:solidFill>
                <a:schemeClr val="tx1"/>
              </a:solidFill>
            </a:rPr>
            <a:t>Portfolio Supply)</a:t>
          </a:r>
        </a:p>
      </dsp:txBody>
      <dsp:txXfrm>
        <a:off x="3434632" y="0"/>
        <a:ext cx="1595389" cy="1112873"/>
      </dsp:txXfrm>
    </dsp:sp>
    <dsp:sp modelId="{249765C8-CC0F-4DDC-B32D-FF11D3CE524B}">
      <dsp:nvSpPr>
        <dsp:cNvPr id="0" name=""/>
        <dsp:cNvSpPr/>
      </dsp:nvSpPr>
      <dsp:spPr>
        <a:xfrm>
          <a:off x="3563846" y="1133895"/>
          <a:ext cx="1276311" cy="728783"/>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MIS</a:t>
          </a:r>
        </a:p>
      </dsp:txBody>
      <dsp:txXfrm>
        <a:off x="3585191" y="1155240"/>
        <a:ext cx="1233621" cy="686093"/>
      </dsp:txXfrm>
    </dsp:sp>
    <dsp:sp modelId="{64E5D62F-362B-4E15-BD2F-198501141F49}">
      <dsp:nvSpPr>
        <dsp:cNvPr id="0" name=""/>
        <dsp:cNvSpPr/>
      </dsp:nvSpPr>
      <dsp:spPr>
        <a:xfrm>
          <a:off x="3563846" y="1974800"/>
          <a:ext cx="1276311" cy="728783"/>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p>
      </dsp:txBody>
      <dsp:txXfrm>
        <a:off x="3585191" y="1996145"/>
        <a:ext cx="1233621" cy="686093"/>
      </dsp:txXfrm>
    </dsp:sp>
    <dsp:sp modelId="{CEA03727-20F1-4D99-BB88-980E00EDC165}">
      <dsp:nvSpPr>
        <dsp:cNvPr id="0" name=""/>
        <dsp:cNvSpPr/>
      </dsp:nvSpPr>
      <dsp:spPr>
        <a:xfrm>
          <a:off x="3563846" y="2815704"/>
          <a:ext cx="1276311" cy="72878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Analytical Tool</a:t>
          </a:r>
        </a:p>
      </dsp:txBody>
      <dsp:txXfrm>
        <a:off x="3585191" y="2837049"/>
        <a:ext cx="1233621" cy="686093"/>
      </dsp:txXfrm>
    </dsp:sp>
    <dsp:sp modelId="{F31C0175-B334-48E0-B193-5D4833238F99}">
      <dsp:nvSpPr>
        <dsp:cNvPr id="0" name=""/>
        <dsp:cNvSpPr/>
      </dsp:nvSpPr>
      <dsp:spPr>
        <a:xfrm>
          <a:off x="5149676" y="0"/>
          <a:ext cx="1595389" cy="370957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ZA" sz="1300" b="0" kern="1200" dirty="0">
              <a:solidFill>
                <a:schemeClr val="tx1"/>
              </a:solidFill>
            </a:rPr>
            <a:t>Plan Accommodation (Analysis and Pre-Planning)</a:t>
          </a:r>
          <a:endParaRPr lang="en-US" sz="1300" b="0" kern="1200" dirty="0">
            <a:solidFill>
              <a:schemeClr val="tx1"/>
            </a:solidFill>
          </a:endParaRPr>
        </a:p>
      </dsp:txBody>
      <dsp:txXfrm>
        <a:off x="5149676" y="0"/>
        <a:ext cx="1595389" cy="1112873"/>
      </dsp:txXfrm>
    </dsp:sp>
    <dsp:sp modelId="{229308E9-8BF8-41DE-9656-7A81547D4275}">
      <dsp:nvSpPr>
        <dsp:cNvPr id="0" name=""/>
        <dsp:cNvSpPr/>
      </dsp:nvSpPr>
      <dsp:spPr>
        <a:xfrm>
          <a:off x="5309215" y="1113960"/>
          <a:ext cx="1276311" cy="111848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roject Tracking System</a:t>
          </a:r>
        </a:p>
      </dsp:txBody>
      <dsp:txXfrm>
        <a:off x="5341974" y="1146719"/>
        <a:ext cx="1210793" cy="1052970"/>
      </dsp:txXfrm>
    </dsp:sp>
    <dsp:sp modelId="{38356073-02B5-4D70-A6DA-4413D8FC24C0}">
      <dsp:nvSpPr>
        <dsp:cNvPr id="0" name=""/>
        <dsp:cNvSpPr/>
      </dsp:nvSpPr>
      <dsp:spPr>
        <a:xfrm>
          <a:off x="5309215" y="2404524"/>
          <a:ext cx="1276311" cy="1118488"/>
        </a:xfrm>
        <a:prstGeom prst="roundRect">
          <a:avLst>
            <a:gd name="adj" fmla="val 1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afety Net</a:t>
          </a:r>
        </a:p>
        <a:p>
          <a:pPr lvl="0" algn="ctr" defTabSz="622300">
            <a:lnSpc>
              <a:spcPct val="90000"/>
            </a:lnSpc>
            <a:spcBef>
              <a:spcPct val="0"/>
            </a:spcBef>
            <a:spcAft>
              <a:spcPct val="35000"/>
            </a:spcAft>
          </a:pPr>
          <a:r>
            <a:rPr lang="en-US" sz="1400" b="1" kern="1200" dirty="0">
              <a:solidFill>
                <a:schemeClr val="tx1"/>
              </a:solidFill>
            </a:rPr>
            <a:t>CSD</a:t>
          </a:r>
        </a:p>
      </dsp:txBody>
      <dsp:txXfrm>
        <a:off x="5341974" y="2437283"/>
        <a:ext cx="1210793" cy="1052970"/>
      </dsp:txXfrm>
    </dsp:sp>
    <dsp:sp modelId="{93666F92-EC83-44F8-86E0-F84AB2A333E8}">
      <dsp:nvSpPr>
        <dsp:cNvPr id="0" name=""/>
        <dsp:cNvSpPr/>
      </dsp:nvSpPr>
      <dsp:spPr>
        <a:xfrm>
          <a:off x="6864719" y="0"/>
          <a:ext cx="1595389" cy="370957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ZA" sz="1300" b="0" kern="1200" dirty="0">
              <a:solidFill>
                <a:schemeClr val="tx1"/>
              </a:solidFill>
            </a:rPr>
            <a:t>Plan Accommodation (</a:t>
          </a:r>
          <a:r>
            <a:rPr lang="en-US" sz="1300" b="0" kern="1200" dirty="0">
              <a:solidFill>
                <a:schemeClr val="tx1"/>
              </a:solidFill>
            </a:rPr>
            <a:t>Implementation Planning)</a:t>
          </a:r>
        </a:p>
      </dsp:txBody>
      <dsp:txXfrm>
        <a:off x="6864719" y="0"/>
        <a:ext cx="1595389" cy="1112873"/>
      </dsp:txXfrm>
    </dsp:sp>
    <dsp:sp modelId="{0E44B6FF-F35F-4BF9-B45F-D8702D26C268}">
      <dsp:nvSpPr>
        <dsp:cNvPr id="0" name=""/>
        <dsp:cNvSpPr/>
      </dsp:nvSpPr>
      <dsp:spPr>
        <a:xfrm>
          <a:off x="7024258" y="1112873"/>
          <a:ext cx="1276311" cy="2411226"/>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p>
      </dsp:txBody>
      <dsp:txXfrm>
        <a:off x="7061640" y="1150255"/>
        <a:ext cx="1201547" cy="23364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F72EC7-A214-4FC2-8112-2BFCCF8B6826}">
      <dsp:nvSpPr>
        <dsp:cNvPr id="0" name=""/>
        <dsp:cNvSpPr/>
      </dsp:nvSpPr>
      <dsp:spPr>
        <a:xfrm>
          <a:off x="17351" y="0"/>
          <a:ext cx="1170966" cy="39786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Acquire Permanent Immovable Asset</a:t>
          </a:r>
          <a:endParaRPr lang="en-US" sz="1800" kern="1200" dirty="0"/>
        </a:p>
      </dsp:txBody>
      <dsp:txXfrm>
        <a:off x="17351" y="0"/>
        <a:ext cx="1170966" cy="1193587"/>
      </dsp:txXfrm>
    </dsp:sp>
    <dsp:sp modelId="{3B34FDFE-936D-483A-A038-77B8C191A391}">
      <dsp:nvSpPr>
        <dsp:cNvPr id="0" name=""/>
        <dsp:cNvSpPr/>
      </dsp:nvSpPr>
      <dsp:spPr>
        <a:xfrm>
          <a:off x="148125" y="1196033"/>
          <a:ext cx="936773" cy="1199609"/>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PMIS</a:t>
          </a:r>
          <a:endParaRPr lang="en-US" sz="1400" b="1" kern="1200" dirty="0">
            <a:solidFill>
              <a:schemeClr val="tx1"/>
            </a:solidFill>
          </a:endParaRPr>
        </a:p>
      </dsp:txBody>
      <dsp:txXfrm>
        <a:off x="175562" y="1223470"/>
        <a:ext cx="881899" cy="1144735"/>
      </dsp:txXfrm>
    </dsp:sp>
    <dsp:sp modelId="{17912C79-9C45-49FE-97C9-D285DD9CFB45}">
      <dsp:nvSpPr>
        <dsp:cNvPr id="0" name=""/>
        <dsp:cNvSpPr/>
      </dsp:nvSpPr>
      <dsp:spPr>
        <a:xfrm>
          <a:off x="121052" y="2578918"/>
          <a:ext cx="936773" cy="1199609"/>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p>
      </dsp:txBody>
      <dsp:txXfrm>
        <a:off x="148489" y="2606355"/>
        <a:ext cx="881899" cy="1144735"/>
      </dsp:txXfrm>
    </dsp:sp>
    <dsp:sp modelId="{B423EEEF-7E0C-4065-8F0A-7BE9E962D0A4}">
      <dsp:nvSpPr>
        <dsp:cNvPr id="0" name=""/>
        <dsp:cNvSpPr/>
      </dsp:nvSpPr>
      <dsp:spPr>
        <a:xfrm>
          <a:off x="1304630" y="0"/>
          <a:ext cx="1229350" cy="39786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Construct</a:t>
          </a:r>
          <a:r>
            <a:rPr lang="en-ZA" sz="1600" kern="1200" dirty="0"/>
            <a:t> </a:t>
          </a:r>
          <a:r>
            <a:rPr lang="en-ZA" sz="1800" kern="1200" dirty="0"/>
            <a:t>Immovable Asset</a:t>
          </a:r>
          <a:endParaRPr lang="en-US" sz="1600" kern="1200" dirty="0"/>
        </a:p>
      </dsp:txBody>
      <dsp:txXfrm>
        <a:off x="1304630" y="0"/>
        <a:ext cx="1229350" cy="1193587"/>
      </dsp:txXfrm>
    </dsp:sp>
    <dsp:sp modelId="{995D5F5A-FFEE-4498-818A-B62E041DFD04}">
      <dsp:nvSpPr>
        <dsp:cNvPr id="0" name=""/>
        <dsp:cNvSpPr/>
      </dsp:nvSpPr>
      <dsp:spPr>
        <a:xfrm>
          <a:off x="1455478" y="1194753"/>
          <a:ext cx="936773" cy="1199609"/>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p>
      </dsp:txBody>
      <dsp:txXfrm>
        <a:off x="1482915" y="1222190"/>
        <a:ext cx="881899" cy="1144735"/>
      </dsp:txXfrm>
    </dsp:sp>
    <dsp:sp modelId="{8C7B915C-82B8-4116-8E92-FA84D3401B04}">
      <dsp:nvSpPr>
        <dsp:cNvPr id="0" name=""/>
        <dsp:cNvSpPr/>
      </dsp:nvSpPr>
      <dsp:spPr>
        <a:xfrm>
          <a:off x="1431965" y="2578918"/>
          <a:ext cx="936773" cy="1199609"/>
        </a:xfrm>
        <a:prstGeom prst="roundRect">
          <a:avLst>
            <a:gd name="adj" fmla="val 10000"/>
          </a:avLst>
        </a:prstGeom>
        <a:solidFill>
          <a:srgbClr val="F046D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Reapatala</a:t>
          </a:r>
        </a:p>
      </dsp:txBody>
      <dsp:txXfrm>
        <a:off x="1459402" y="2606355"/>
        <a:ext cx="881899" cy="1144735"/>
      </dsp:txXfrm>
    </dsp:sp>
    <dsp:sp modelId="{5B50CB7B-9099-49D3-ABC7-125DCA43CCD9}">
      <dsp:nvSpPr>
        <dsp:cNvPr id="0" name=""/>
        <dsp:cNvSpPr/>
      </dsp:nvSpPr>
      <dsp:spPr>
        <a:xfrm>
          <a:off x="2579917" y="0"/>
          <a:ext cx="1170966" cy="39786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Acquire Temporary Immovable Asset (Leasing In)</a:t>
          </a:r>
          <a:endParaRPr lang="en-US" sz="1800" kern="1200" dirty="0"/>
        </a:p>
      </dsp:txBody>
      <dsp:txXfrm>
        <a:off x="2579917" y="0"/>
        <a:ext cx="1170966" cy="1193587"/>
      </dsp:txXfrm>
    </dsp:sp>
    <dsp:sp modelId="{249765C8-CC0F-4DDC-B32D-FF11D3CE524B}">
      <dsp:nvSpPr>
        <dsp:cNvPr id="0" name=""/>
        <dsp:cNvSpPr/>
      </dsp:nvSpPr>
      <dsp:spPr>
        <a:xfrm>
          <a:off x="2697014" y="1193684"/>
          <a:ext cx="936773" cy="579600"/>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MIS</a:t>
          </a:r>
        </a:p>
      </dsp:txBody>
      <dsp:txXfrm>
        <a:off x="2713990" y="1210660"/>
        <a:ext cx="902821" cy="545648"/>
      </dsp:txXfrm>
    </dsp:sp>
    <dsp:sp modelId="{EE6345ED-3193-4965-B027-753BC17F330C}">
      <dsp:nvSpPr>
        <dsp:cNvPr id="0" name=""/>
        <dsp:cNvSpPr/>
      </dsp:nvSpPr>
      <dsp:spPr>
        <a:xfrm>
          <a:off x="2697014" y="1862454"/>
          <a:ext cx="936773" cy="579600"/>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p>
      </dsp:txBody>
      <dsp:txXfrm>
        <a:off x="2713990" y="1879430"/>
        <a:ext cx="902821" cy="545648"/>
      </dsp:txXfrm>
    </dsp:sp>
    <dsp:sp modelId="{BBE0F8DF-F1F5-484B-A322-1D87BFF1EEA2}">
      <dsp:nvSpPr>
        <dsp:cNvPr id="0" name=""/>
        <dsp:cNvSpPr/>
      </dsp:nvSpPr>
      <dsp:spPr>
        <a:xfrm>
          <a:off x="2697014" y="2531225"/>
          <a:ext cx="936773" cy="579600"/>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MDB</a:t>
          </a:r>
        </a:p>
      </dsp:txBody>
      <dsp:txXfrm>
        <a:off x="2713990" y="2548201"/>
        <a:ext cx="902821" cy="545648"/>
      </dsp:txXfrm>
    </dsp:sp>
    <dsp:sp modelId="{6FA7BD4B-2A7F-4B03-A6CF-7D42A901B3DF}">
      <dsp:nvSpPr>
        <dsp:cNvPr id="0" name=""/>
        <dsp:cNvSpPr/>
      </dsp:nvSpPr>
      <dsp:spPr>
        <a:xfrm>
          <a:off x="2697014" y="3199995"/>
          <a:ext cx="936773" cy="579600"/>
        </a:xfrm>
        <a:prstGeom prst="roundRect">
          <a:avLst>
            <a:gd name="adj" fmla="val 10000"/>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aper Trail System</a:t>
          </a:r>
        </a:p>
      </dsp:txBody>
      <dsp:txXfrm>
        <a:off x="2713990" y="3216971"/>
        <a:ext cx="902821" cy="545648"/>
      </dsp:txXfrm>
    </dsp:sp>
    <dsp:sp modelId="{1B2FE6FB-C396-4AA0-ABFE-9C4999842100}">
      <dsp:nvSpPr>
        <dsp:cNvPr id="0" name=""/>
        <dsp:cNvSpPr/>
      </dsp:nvSpPr>
      <dsp:spPr>
        <a:xfrm>
          <a:off x="3838706" y="0"/>
          <a:ext cx="1007370" cy="39786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Manage Immovable Asset</a:t>
          </a:r>
          <a:endParaRPr lang="en-US" sz="1800" kern="1200" dirty="0"/>
        </a:p>
      </dsp:txBody>
      <dsp:txXfrm>
        <a:off x="3838706" y="0"/>
        <a:ext cx="1007370" cy="1193587"/>
      </dsp:txXfrm>
    </dsp:sp>
    <dsp:sp modelId="{DBF014A0-DCD6-417F-8C70-D5C348D15348}">
      <dsp:nvSpPr>
        <dsp:cNvPr id="0" name=""/>
        <dsp:cNvSpPr/>
      </dsp:nvSpPr>
      <dsp:spPr>
        <a:xfrm>
          <a:off x="3980057" y="1193587"/>
          <a:ext cx="724668" cy="2586106"/>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MIS</a:t>
          </a:r>
        </a:p>
      </dsp:txBody>
      <dsp:txXfrm>
        <a:off x="4001282" y="1214812"/>
        <a:ext cx="682218" cy="2543656"/>
      </dsp:txXfrm>
    </dsp:sp>
    <dsp:sp modelId="{AF937107-0827-42A9-B184-8883DFD4B64D}">
      <dsp:nvSpPr>
        <dsp:cNvPr id="0" name=""/>
        <dsp:cNvSpPr/>
      </dsp:nvSpPr>
      <dsp:spPr>
        <a:xfrm>
          <a:off x="4933900" y="0"/>
          <a:ext cx="1170966" cy="39786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Maintain Facility</a:t>
          </a:r>
          <a:endParaRPr lang="en-US" sz="1800" kern="1200" dirty="0"/>
        </a:p>
      </dsp:txBody>
      <dsp:txXfrm>
        <a:off x="4933900" y="0"/>
        <a:ext cx="1170966" cy="1193587"/>
      </dsp:txXfrm>
    </dsp:sp>
    <dsp:sp modelId="{F4AFCBC2-4C1C-4AEB-84B4-A03AE0786D26}">
      <dsp:nvSpPr>
        <dsp:cNvPr id="0" name=""/>
        <dsp:cNvSpPr/>
      </dsp:nvSpPr>
      <dsp:spPr>
        <a:xfrm>
          <a:off x="5050996" y="1194774"/>
          <a:ext cx="936773" cy="32642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b="1" kern="1200" dirty="0">
              <a:solidFill>
                <a:schemeClr val="tx1"/>
              </a:solidFill>
            </a:rPr>
            <a:t>Security Management</a:t>
          </a:r>
        </a:p>
      </dsp:txBody>
      <dsp:txXfrm>
        <a:off x="5060557" y="1204335"/>
        <a:ext cx="917651" cy="307298"/>
      </dsp:txXfrm>
    </dsp:sp>
    <dsp:sp modelId="{BE79E4FC-92B6-4536-B7A3-63F83851D068}">
      <dsp:nvSpPr>
        <dsp:cNvPr id="0" name=""/>
        <dsp:cNvSpPr/>
      </dsp:nvSpPr>
      <dsp:spPr>
        <a:xfrm>
          <a:off x="5050996" y="1571412"/>
          <a:ext cx="936773" cy="54820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b="1" kern="1200" dirty="0">
              <a:solidFill>
                <a:schemeClr val="tx1"/>
              </a:solidFill>
            </a:rPr>
            <a:t>Information Security Storage System</a:t>
          </a:r>
        </a:p>
      </dsp:txBody>
      <dsp:txXfrm>
        <a:off x="5067052" y="1587468"/>
        <a:ext cx="904661" cy="516097"/>
      </dsp:txXfrm>
    </dsp:sp>
    <dsp:sp modelId="{BD025101-D367-499F-8418-013BCB686C8A}">
      <dsp:nvSpPr>
        <dsp:cNvPr id="0" name=""/>
        <dsp:cNvSpPr/>
      </dsp:nvSpPr>
      <dsp:spPr>
        <a:xfrm>
          <a:off x="5050996" y="2169840"/>
          <a:ext cx="936773" cy="4787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b="1" kern="1200" dirty="0">
              <a:solidFill>
                <a:schemeClr val="tx1"/>
              </a:solidFill>
            </a:rPr>
            <a:t>OHS Management System</a:t>
          </a:r>
        </a:p>
      </dsp:txBody>
      <dsp:txXfrm>
        <a:off x="5065018" y="2183862"/>
        <a:ext cx="908729" cy="450706"/>
      </dsp:txXfrm>
    </dsp:sp>
    <dsp:sp modelId="{384DDC0C-5B39-431C-9F9B-A8073332EB27}">
      <dsp:nvSpPr>
        <dsp:cNvPr id="0" name=""/>
        <dsp:cNvSpPr/>
      </dsp:nvSpPr>
      <dsp:spPr>
        <a:xfrm>
          <a:off x="5050996" y="2698809"/>
          <a:ext cx="936773" cy="326420"/>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b="1" kern="1200" dirty="0">
              <a:solidFill>
                <a:schemeClr val="tx1"/>
              </a:solidFill>
            </a:rPr>
            <a:t>PMIS</a:t>
          </a:r>
        </a:p>
      </dsp:txBody>
      <dsp:txXfrm>
        <a:off x="5060557" y="2708370"/>
        <a:ext cx="917651" cy="307298"/>
      </dsp:txXfrm>
    </dsp:sp>
    <dsp:sp modelId="{0E6B7384-501B-46FD-8E09-4E78F54894DA}">
      <dsp:nvSpPr>
        <dsp:cNvPr id="0" name=""/>
        <dsp:cNvSpPr/>
      </dsp:nvSpPr>
      <dsp:spPr>
        <a:xfrm>
          <a:off x="5050996" y="3075448"/>
          <a:ext cx="936773" cy="326420"/>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ZA" sz="900" b="1" kern="1200" dirty="0">
              <a:solidFill>
                <a:schemeClr val="tx1"/>
              </a:solidFill>
            </a:rPr>
            <a:t>Worx4U</a:t>
          </a:r>
          <a:endParaRPr lang="en-US" sz="900" b="1" kern="1200" dirty="0">
            <a:solidFill>
              <a:schemeClr val="tx1"/>
            </a:solidFill>
          </a:endParaRPr>
        </a:p>
      </dsp:txBody>
      <dsp:txXfrm>
        <a:off x="5060557" y="3085009"/>
        <a:ext cx="917651" cy="307298"/>
      </dsp:txXfrm>
    </dsp:sp>
    <dsp:sp modelId="{973E830E-476B-40AE-8A45-31DF1D31CDE6}">
      <dsp:nvSpPr>
        <dsp:cNvPr id="0" name=""/>
        <dsp:cNvSpPr/>
      </dsp:nvSpPr>
      <dsp:spPr>
        <a:xfrm>
          <a:off x="5050996" y="3452087"/>
          <a:ext cx="936773" cy="326420"/>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ZA" sz="900" b="1" kern="1200" dirty="0">
              <a:solidFill>
                <a:schemeClr val="tx1"/>
              </a:solidFill>
            </a:rPr>
            <a:t>Archibus</a:t>
          </a:r>
          <a:endParaRPr lang="en-US" sz="900" b="1" kern="1200" dirty="0">
            <a:solidFill>
              <a:schemeClr val="tx1"/>
            </a:solidFill>
          </a:endParaRPr>
        </a:p>
      </dsp:txBody>
      <dsp:txXfrm>
        <a:off x="5060557" y="3461648"/>
        <a:ext cx="917651" cy="307298"/>
      </dsp:txXfrm>
    </dsp:sp>
    <dsp:sp modelId="{0CF2835B-9784-45D0-9C90-F5415B4EEA05}">
      <dsp:nvSpPr>
        <dsp:cNvPr id="0" name=""/>
        <dsp:cNvSpPr/>
      </dsp:nvSpPr>
      <dsp:spPr>
        <a:xfrm>
          <a:off x="6192688" y="0"/>
          <a:ext cx="1170966" cy="39786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Dispose (Temporary) Immovable Asset</a:t>
          </a:r>
          <a:endParaRPr lang="en-US" sz="1800" kern="1200" dirty="0"/>
        </a:p>
      </dsp:txBody>
      <dsp:txXfrm>
        <a:off x="6192688" y="0"/>
        <a:ext cx="1170966" cy="1193587"/>
      </dsp:txXfrm>
    </dsp:sp>
    <dsp:sp modelId="{5C52F22C-DAA4-4F53-8502-AF95C6576DF8}">
      <dsp:nvSpPr>
        <dsp:cNvPr id="0" name=""/>
        <dsp:cNvSpPr/>
      </dsp:nvSpPr>
      <dsp:spPr>
        <a:xfrm>
          <a:off x="6309785" y="1193587"/>
          <a:ext cx="936773" cy="2586106"/>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PMIS</a:t>
          </a:r>
          <a:endParaRPr lang="en-US" sz="1400" b="1" kern="1200" dirty="0">
            <a:solidFill>
              <a:schemeClr val="tx1"/>
            </a:solidFill>
          </a:endParaRPr>
        </a:p>
      </dsp:txBody>
      <dsp:txXfrm>
        <a:off x="6337222" y="1221024"/>
        <a:ext cx="881899" cy="2531232"/>
      </dsp:txXfrm>
    </dsp:sp>
    <dsp:sp modelId="{656A4936-BEF3-48DF-8B92-F03421E8A3DE}">
      <dsp:nvSpPr>
        <dsp:cNvPr id="0" name=""/>
        <dsp:cNvSpPr/>
      </dsp:nvSpPr>
      <dsp:spPr>
        <a:xfrm>
          <a:off x="7451477" y="0"/>
          <a:ext cx="1170966" cy="39786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Dispose (Permanent) Immovable Asset</a:t>
          </a:r>
          <a:endParaRPr lang="en-US" sz="1800" kern="1200" dirty="0"/>
        </a:p>
      </dsp:txBody>
      <dsp:txXfrm>
        <a:off x="7451477" y="0"/>
        <a:ext cx="1170966" cy="1193587"/>
      </dsp:txXfrm>
    </dsp:sp>
    <dsp:sp modelId="{AABF6AFF-0CA1-48E4-BDAF-5041C006F122}">
      <dsp:nvSpPr>
        <dsp:cNvPr id="0" name=""/>
        <dsp:cNvSpPr/>
      </dsp:nvSpPr>
      <dsp:spPr>
        <a:xfrm>
          <a:off x="7568574" y="1193587"/>
          <a:ext cx="936773" cy="2586106"/>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PMIS</a:t>
          </a:r>
          <a:endParaRPr lang="en-US" sz="1400" b="1" kern="1200" dirty="0">
            <a:solidFill>
              <a:schemeClr val="tx1"/>
            </a:solidFill>
          </a:endParaRPr>
        </a:p>
      </dsp:txBody>
      <dsp:txXfrm>
        <a:off x="7596011" y="1221024"/>
        <a:ext cx="881899" cy="25312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F72EC7-A214-4FC2-8112-2BFCCF8B6826}">
      <dsp:nvSpPr>
        <dsp:cNvPr id="0" name=""/>
        <dsp:cNvSpPr/>
      </dsp:nvSpPr>
      <dsp:spPr>
        <a:xfrm>
          <a:off x="20514" y="0"/>
          <a:ext cx="1435591" cy="46158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Procurement Planning</a:t>
          </a:r>
          <a:endParaRPr lang="en-US" sz="1800" kern="1200" dirty="0"/>
        </a:p>
      </dsp:txBody>
      <dsp:txXfrm>
        <a:off x="20514" y="0"/>
        <a:ext cx="1435591" cy="1384769"/>
      </dsp:txXfrm>
    </dsp:sp>
    <dsp:sp modelId="{3B34FDFE-936D-483A-A038-77B8C191A391}">
      <dsp:nvSpPr>
        <dsp:cNvPr id="0" name=""/>
        <dsp:cNvSpPr/>
      </dsp:nvSpPr>
      <dsp:spPr>
        <a:xfrm>
          <a:off x="180841" y="1409729"/>
          <a:ext cx="1148473" cy="1391756"/>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MIS</a:t>
          </a:r>
        </a:p>
      </dsp:txBody>
      <dsp:txXfrm>
        <a:off x="214479" y="1443367"/>
        <a:ext cx="1081197" cy="1324480"/>
      </dsp:txXfrm>
    </dsp:sp>
    <dsp:sp modelId="{BFB051E7-8CEC-45B1-B225-93CDD2D94AE0}">
      <dsp:nvSpPr>
        <dsp:cNvPr id="0" name=""/>
        <dsp:cNvSpPr/>
      </dsp:nvSpPr>
      <dsp:spPr>
        <a:xfrm>
          <a:off x="213055" y="3005568"/>
          <a:ext cx="1148473" cy="1391756"/>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endParaRPr lang="en-US" sz="1200" b="1" kern="1200" dirty="0">
            <a:solidFill>
              <a:schemeClr val="tx1"/>
            </a:solidFill>
          </a:endParaRPr>
        </a:p>
      </dsp:txBody>
      <dsp:txXfrm>
        <a:off x="246693" y="3039206"/>
        <a:ext cx="1081197" cy="1324480"/>
      </dsp:txXfrm>
    </dsp:sp>
    <dsp:sp modelId="{B423EEEF-7E0C-4065-8F0A-7BE9E962D0A4}">
      <dsp:nvSpPr>
        <dsp:cNvPr id="0" name=""/>
        <dsp:cNvSpPr/>
      </dsp:nvSpPr>
      <dsp:spPr>
        <a:xfrm>
          <a:off x="1547351" y="0"/>
          <a:ext cx="1435591" cy="46158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Movable Asset Management</a:t>
          </a:r>
          <a:endParaRPr lang="en-US" sz="1800" kern="1200" dirty="0"/>
        </a:p>
      </dsp:txBody>
      <dsp:txXfrm>
        <a:off x="1547351" y="0"/>
        <a:ext cx="1435591" cy="1384769"/>
      </dsp:txXfrm>
    </dsp:sp>
    <dsp:sp modelId="{53CBDECD-13FB-4995-8522-8389D79508BF}">
      <dsp:nvSpPr>
        <dsp:cNvPr id="0" name=""/>
        <dsp:cNvSpPr/>
      </dsp:nvSpPr>
      <dsp:spPr>
        <a:xfrm>
          <a:off x="1698801" y="1482129"/>
          <a:ext cx="1148473" cy="3000333"/>
        </a:xfrm>
        <a:prstGeom prst="roundRect">
          <a:avLst>
            <a:gd name="adj" fmla="val 10000"/>
          </a:avLst>
        </a:prstGeom>
        <a:solidFill>
          <a:srgbClr val="FF99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AGE</a:t>
          </a:r>
          <a:endParaRPr lang="en-US" sz="1200" b="1" kern="1200" dirty="0">
            <a:solidFill>
              <a:schemeClr val="tx1"/>
            </a:solidFill>
          </a:endParaRPr>
        </a:p>
      </dsp:txBody>
      <dsp:txXfrm>
        <a:off x="1732439" y="1515767"/>
        <a:ext cx="1081197" cy="2933057"/>
      </dsp:txXfrm>
    </dsp:sp>
    <dsp:sp modelId="{5B50CB7B-9099-49D3-ABC7-125DCA43CCD9}">
      <dsp:nvSpPr>
        <dsp:cNvPr id="0" name=""/>
        <dsp:cNvSpPr/>
      </dsp:nvSpPr>
      <dsp:spPr>
        <a:xfrm>
          <a:off x="3090612" y="0"/>
          <a:ext cx="1435591" cy="46158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Provisioning and Logistics</a:t>
          </a:r>
          <a:endParaRPr lang="en-US" sz="1800" kern="1200" dirty="0"/>
        </a:p>
      </dsp:txBody>
      <dsp:txXfrm>
        <a:off x="3090612" y="0"/>
        <a:ext cx="1435591" cy="1384769"/>
      </dsp:txXfrm>
    </dsp:sp>
    <dsp:sp modelId="{151886D5-CCC7-40B3-ADF2-E15F7549D071}">
      <dsp:nvSpPr>
        <dsp:cNvPr id="0" name=""/>
        <dsp:cNvSpPr/>
      </dsp:nvSpPr>
      <dsp:spPr>
        <a:xfrm>
          <a:off x="3234171" y="1414099"/>
          <a:ext cx="1148473" cy="6711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aper Trail System</a:t>
          </a:r>
        </a:p>
      </dsp:txBody>
      <dsp:txXfrm>
        <a:off x="3253828" y="1433756"/>
        <a:ext cx="1109159" cy="631819"/>
      </dsp:txXfrm>
    </dsp:sp>
    <dsp:sp modelId="{824B1A43-2E82-4AFD-9582-0A8D524DF600}">
      <dsp:nvSpPr>
        <dsp:cNvPr id="0" name=""/>
        <dsp:cNvSpPr/>
      </dsp:nvSpPr>
      <dsp:spPr>
        <a:xfrm>
          <a:off x="3234171" y="2147326"/>
          <a:ext cx="1148473" cy="403609"/>
        </a:xfrm>
        <a:prstGeom prst="roundRect">
          <a:avLst>
            <a:gd name="adj" fmla="val 10000"/>
          </a:avLst>
        </a:prstGeom>
        <a:solidFill>
          <a:srgbClr val="F046D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Reapatala</a:t>
          </a:r>
        </a:p>
      </dsp:txBody>
      <dsp:txXfrm>
        <a:off x="3245992" y="2159147"/>
        <a:ext cx="1124831" cy="379967"/>
      </dsp:txXfrm>
    </dsp:sp>
    <dsp:sp modelId="{83E5EBA2-F89A-4AE7-934E-E040A027D4E3}">
      <dsp:nvSpPr>
        <dsp:cNvPr id="0" name=""/>
        <dsp:cNvSpPr/>
      </dsp:nvSpPr>
      <dsp:spPr>
        <a:xfrm>
          <a:off x="3234171" y="2613029"/>
          <a:ext cx="1148473" cy="40360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TSM System</a:t>
          </a:r>
        </a:p>
      </dsp:txBody>
      <dsp:txXfrm>
        <a:off x="3245992" y="2624850"/>
        <a:ext cx="1124831" cy="379967"/>
      </dsp:txXfrm>
    </dsp:sp>
    <dsp:sp modelId="{3FD1EA50-24D0-41E4-A5CB-E0788B3D1C2C}">
      <dsp:nvSpPr>
        <dsp:cNvPr id="0" name=""/>
        <dsp:cNvSpPr/>
      </dsp:nvSpPr>
      <dsp:spPr>
        <a:xfrm>
          <a:off x="3234171" y="3078732"/>
          <a:ext cx="1148473" cy="40360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ERSAL</a:t>
          </a:r>
        </a:p>
      </dsp:txBody>
      <dsp:txXfrm>
        <a:off x="3245992" y="3090553"/>
        <a:ext cx="1124831" cy="379967"/>
      </dsp:txXfrm>
    </dsp:sp>
    <dsp:sp modelId="{C9B9C669-4F94-43A1-AFFB-C021C3930597}">
      <dsp:nvSpPr>
        <dsp:cNvPr id="0" name=""/>
        <dsp:cNvSpPr/>
      </dsp:nvSpPr>
      <dsp:spPr>
        <a:xfrm>
          <a:off x="3234171" y="3544435"/>
          <a:ext cx="1148473" cy="403609"/>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Archibus</a:t>
          </a:r>
          <a:endParaRPr lang="en-US" sz="2200" b="1" kern="1200" dirty="0">
            <a:solidFill>
              <a:schemeClr val="tx1"/>
            </a:solidFill>
          </a:endParaRPr>
        </a:p>
      </dsp:txBody>
      <dsp:txXfrm>
        <a:off x="3245992" y="3556256"/>
        <a:ext cx="1124831" cy="379967"/>
      </dsp:txXfrm>
    </dsp:sp>
    <dsp:sp modelId="{2B532FF6-446A-40B1-9C64-224BDEEC6DD9}">
      <dsp:nvSpPr>
        <dsp:cNvPr id="0" name=""/>
        <dsp:cNvSpPr/>
      </dsp:nvSpPr>
      <dsp:spPr>
        <a:xfrm>
          <a:off x="3234171" y="4010138"/>
          <a:ext cx="1148473" cy="403609"/>
        </a:xfrm>
        <a:prstGeom prst="roundRect">
          <a:avLst>
            <a:gd name="adj" fmla="val 10000"/>
          </a:avLst>
        </a:prstGeom>
        <a:solidFill>
          <a:srgbClr val="FF99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AGE</a:t>
          </a:r>
          <a:endParaRPr lang="en-US" sz="2200" b="1" kern="1200" dirty="0">
            <a:solidFill>
              <a:schemeClr val="tx1"/>
            </a:solidFill>
          </a:endParaRPr>
        </a:p>
      </dsp:txBody>
      <dsp:txXfrm>
        <a:off x="3245992" y="4021959"/>
        <a:ext cx="1124831" cy="379967"/>
      </dsp:txXfrm>
    </dsp:sp>
    <dsp:sp modelId="{DA9E3B09-B218-424D-9A9E-6C0B281596BB}">
      <dsp:nvSpPr>
        <dsp:cNvPr id="0" name=""/>
        <dsp:cNvSpPr/>
      </dsp:nvSpPr>
      <dsp:spPr>
        <a:xfrm>
          <a:off x="4633873" y="0"/>
          <a:ext cx="1435591" cy="46158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Quote Management (Demand and Acquisition)</a:t>
          </a:r>
          <a:endParaRPr lang="en-US" sz="1800" kern="1200" dirty="0"/>
        </a:p>
      </dsp:txBody>
      <dsp:txXfrm>
        <a:off x="4633873" y="0"/>
        <a:ext cx="1435591" cy="1384769"/>
      </dsp:txXfrm>
    </dsp:sp>
    <dsp:sp modelId="{9AB537BC-5EFC-4167-98E8-9880C5E06780}">
      <dsp:nvSpPr>
        <dsp:cNvPr id="0" name=""/>
        <dsp:cNvSpPr/>
      </dsp:nvSpPr>
      <dsp:spPr>
        <a:xfrm>
          <a:off x="4777432" y="1420073"/>
          <a:ext cx="1148473" cy="13917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Quotation Tracking System (TQS)</a:t>
          </a:r>
          <a:endParaRPr lang="en-US" sz="1400" b="1" kern="1200" dirty="0">
            <a:solidFill>
              <a:schemeClr val="tx1"/>
            </a:solidFill>
          </a:endParaRPr>
        </a:p>
      </dsp:txBody>
      <dsp:txXfrm>
        <a:off x="4811070" y="1453711"/>
        <a:ext cx="1081197" cy="1324480"/>
      </dsp:txXfrm>
    </dsp:sp>
    <dsp:sp modelId="{8711490B-129F-4F44-A001-F232EB36D77B}">
      <dsp:nvSpPr>
        <dsp:cNvPr id="0" name=""/>
        <dsp:cNvSpPr/>
      </dsp:nvSpPr>
      <dsp:spPr>
        <a:xfrm>
          <a:off x="4777432" y="2991993"/>
          <a:ext cx="1148473" cy="139175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Devolution</a:t>
          </a:r>
          <a:r>
            <a:rPr lang="en-ZA" sz="1200" b="1" kern="1200" dirty="0">
              <a:solidFill>
                <a:schemeClr val="tx1"/>
              </a:solidFill>
            </a:rPr>
            <a:t> </a:t>
          </a:r>
          <a:r>
            <a:rPr lang="en-ZA" sz="1400" b="1" kern="1200" dirty="0">
              <a:solidFill>
                <a:schemeClr val="tx1"/>
              </a:solidFill>
            </a:rPr>
            <a:t>System</a:t>
          </a:r>
          <a:endParaRPr lang="en-US" sz="1200" b="1" kern="1200" dirty="0">
            <a:solidFill>
              <a:schemeClr val="tx1"/>
            </a:solidFill>
          </a:endParaRPr>
        </a:p>
      </dsp:txBody>
      <dsp:txXfrm>
        <a:off x="4811070" y="3025631"/>
        <a:ext cx="1081197" cy="1324480"/>
      </dsp:txXfrm>
    </dsp:sp>
    <dsp:sp modelId="{33902426-98D2-4C5F-B344-ECB12B30DF14}">
      <dsp:nvSpPr>
        <dsp:cNvPr id="0" name=""/>
        <dsp:cNvSpPr/>
      </dsp:nvSpPr>
      <dsp:spPr>
        <a:xfrm>
          <a:off x="6177134" y="0"/>
          <a:ext cx="1435591" cy="461589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Tender Management (Bid Administration)</a:t>
          </a:r>
          <a:endParaRPr lang="en-US" sz="1800" kern="1200" dirty="0"/>
        </a:p>
      </dsp:txBody>
      <dsp:txXfrm>
        <a:off x="6177134" y="0"/>
        <a:ext cx="1435591" cy="1384769"/>
      </dsp:txXfrm>
    </dsp:sp>
    <dsp:sp modelId="{A0DCFAD7-28D4-46EE-ACEA-4B2AF9D93A12}">
      <dsp:nvSpPr>
        <dsp:cNvPr id="0" name=""/>
        <dsp:cNvSpPr/>
      </dsp:nvSpPr>
      <dsp:spPr>
        <a:xfrm>
          <a:off x="6320693" y="1385163"/>
          <a:ext cx="1148473" cy="906838"/>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PMIS</a:t>
          </a:r>
          <a:endParaRPr lang="en-US" sz="1200" b="1" kern="1200" dirty="0">
            <a:solidFill>
              <a:schemeClr val="tx1"/>
            </a:solidFill>
          </a:endParaRPr>
        </a:p>
      </dsp:txBody>
      <dsp:txXfrm>
        <a:off x="6347253" y="1411723"/>
        <a:ext cx="1095353" cy="853718"/>
      </dsp:txXfrm>
    </dsp:sp>
    <dsp:sp modelId="{9F806A33-04A3-462D-82BE-4754877F25D4}">
      <dsp:nvSpPr>
        <dsp:cNvPr id="0" name=""/>
        <dsp:cNvSpPr/>
      </dsp:nvSpPr>
      <dsp:spPr>
        <a:xfrm>
          <a:off x="6320693" y="2431516"/>
          <a:ext cx="1148473" cy="9068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upplier Verification System - </a:t>
          </a:r>
          <a:r>
            <a:rPr lang="en-ZA" sz="1400" b="1" kern="1200" dirty="0">
              <a:solidFill>
                <a:schemeClr val="tx1"/>
              </a:solidFill>
            </a:rPr>
            <a:t>CSD</a:t>
          </a:r>
          <a:endParaRPr lang="en-US" sz="1200" b="1" kern="1200" dirty="0">
            <a:solidFill>
              <a:schemeClr val="tx1"/>
            </a:solidFill>
          </a:endParaRPr>
        </a:p>
      </dsp:txBody>
      <dsp:txXfrm>
        <a:off x="6347253" y="2458076"/>
        <a:ext cx="1095353" cy="853718"/>
      </dsp:txXfrm>
    </dsp:sp>
    <dsp:sp modelId="{547637A4-02C2-44C6-B735-CDB198F9153D}">
      <dsp:nvSpPr>
        <dsp:cNvPr id="0" name=""/>
        <dsp:cNvSpPr/>
      </dsp:nvSpPr>
      <dsp:spPr>
        <a:xfrm>
          <a:off x="6320693" y="3477868"/>
          <a:ext cx="1148473" cy="906838"/>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WCS</a:t>
          </a:r>
          <a:endParaRPr lang="en-US" sz="1200" b="1" kern="1200" dirty="0">
            <a:solidFill>
              <a:schemeClr val="tx1"/>
            </a:solidFill>
          </a:endParaRPr>
        </a:p>
      </dsp:txBody>
      <dsp:txXfrm>
        <a:off x="6347253" y="3504428"/>
        <a:ext cx="1095353" cy="85371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F72EC7-A214-4FC2-8112-2BFCCF8B6826}">
      <dsp:nvSpPr>
        <dsp:cNvPr id="0" name=""/>
        <dsp:cNvSpPr/>
      </dsp:nvSpPr>
      <dsp:spPr>
        <a:xfrm>
          <a:off x="55774" y="0"/>
          <a:ext cx="1377438" cy="392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Financial Planning and Budgeting</a:t>
          </a:r>
          <a:endParaRPr lang="en-US" sz="1800" kern="1200" dirty="0"/>
        </a:p>
      </dsp:txBody>
      <dsp:txXfrm>
        <a:off x="55774" y="0"/>
        <a:ext cx="1377438" cy="1177413"/>
      </dsp:txXfrm>
    </dsp:sp>
    <dsp:sp modelId="{3B34FDFE-936D-483A-A038-77B8C191A391}">
      <dsp:nvSpPr>
        <dsp:cNvPr id="0" name=""/>
        <dsp:cNvSpPr/>
      </dsp:nvSpPr>
      <dsp:spPr>
        <a:xfrm>
          <a:off x="195137" y="1164033"/>
          <a:ext cx="1101950" cy="1183354"/>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b="1" kern="1200" dirty="0">
              <a:solidFill>
                <a:schemeClr val="tx1"/>
              </a:solidFill>
            </a:rPr>
            <a:t/>
          </a:r>
          <a:br>
            <a:rPr lang="en-US" sz="1100" b="1" kern="1200" dirty="0">
              <a:solidFill>
                <a:schemeClr val="tx1"/>
              </a:solidFill>
            </a:rPr>
          </a:br>
          <a:r>
            <a:rPr lang="en-US" sz="1400" b="1" kern="1200" dirty="0">
              <a:solidFill>
                <a:schemeClr val="tx1"/>
              </a:solidFill>
            </a:rPr>
            <a:t>WCS</a:t>
          </a:r>
          <a:endParaRPr lang="en-US" sz="1100" b="1" kern="1200" dirty="0">
            <a:solidFill>
              <a:schemeClr val="tx1"/>
            </a:solidFill>
          </a:endParaRPr>
        </a:p>
      </dsp:txBody>
      <dsp:txXfrm>
        <a:off x="227412" y="1196308"/>
        <a:ext cx="1037400" cy="1118804"/>
      </dsp:txXfrm>
    </dsp:sp>
    <dsp:sp modelId="{C9F65BC7-6A19-4FB2-82BF-A2B05529F82E}">
      <dsp:nvSpPr>
        <dsp:cNvPr id="0" name=""/>
        <dsp:cNvSpPr/>
      </dsp:nvSpPr>
      <dsp:spPr>
        <a:xfrm>
          <a:off x="173076" y="2554940"/>
          <a:ext cx="1101950" cy="1183354"/>
        </a:xfrm>
        <a:prstGeom prst="roundRect">
          <a:avLst>
            <a:gd name="adj" fmla="val 10000"/>
          </a:avLst>
        </a:prstGeom>
        <a:solidFill>
          <a:srgbClr val="FF99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b="1" kern="1200" dirty="0">
              <a:solidFill>
                <a:schemeClr val="tx1"/>
              </a:solidFill>
            </a:rPr>
            <a:t/>
          </a:r>
          <a:br>
            <a:rPr lang="en-US" sz="1100" b="1" kern="1200" dirty="0">
              <a:solidFill>
                <a:schemeClr val="tx1"/>
              </a:solidFill>
            </a:rPr>
          </a:br>
          <a:r>
            <a:rPr lang="en-US" sz="1400" b="1" kern="1200" dirty="0">
              <a:solidFill>
                <a:schemeClr val="tx1"/>
              </a:solidFill>
            </a:rPr>
            <a:t>SAGE</a:t>
          </a:r>
          <a:endParaRPr lang="en-US" sz="1100" b="1" kern="1200" dirty="0">
            <a:solidFill>
              <a:schemeClr val="tx1"/>
            </a:solidFill>
          </a:endParaRPr>
        </a:p>
      </dsp:txBody>
      <dsp:txXfrm>
        <a:off x="205351" y="2587215"/>
        <a:ext cx="1037400" cy="1118804"/>
      </dsp:txXfrm>
    </dsp:sp>
    <dsp:sp modelId="{B423EEEF-7E0C-4065-8F0A-7BE9E962D0A4}">
      <dsp:nvSpPr>
        <dsp:cNvPr id="0" name=""/>
        <dsp:cNvSpPr/>
      </dsp:nvSpPr>
      <dsp:spPr>
        <a:xfrm>
          <a:off x="1484233" y="0"/>
          <a:ext cx="1377438" cy="392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Revenue and Debt Management</a:t>
          </a:r>
          <a:endParaRPr lang="en-US" sz="1800" kern="1200" dirty="0"/>
        </a:p>
      </dsp:txBody>
      <dsp:txXfrm>
        <a:off x="1484233" y="0"/>
        <a:ext cx="1377438" cy="1177413"/>
      </dsp:txXfrm>
    </dsp:sp>
    <dsp:sp modelId="{995D5F5A-FFEE-4498-818A-B62E041DFD04}">
      <dsp:nvSpPr>
        <dsp:cNvPr id="0" name=""/>
        <dsp:cNvSpPr/>
      </dsp:nvSpPr>
      <dsp:spPr>
        <a:xfrm>
          <a:off x="1621977" y="1187215"/>
          <a:ext cx="1101950" cy="571746"/>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Archibus</a:t>
          </a:r>
          <a:endParaRPr lang="en-US" sz="1100" b="1" kern="1200" dirty="0">
            <a:solidFill>
              <a:schemeClr val="tx1"/>
            </a:solidFill>
          </a:endParaRPr>
        </a:p>
      </dsp:txBody>
      <dsp:txXfrm>
        <a:off x="1638723" y="1203961"/>
        <a:ext cx="1068458" cy="538254"/>
      </dsp:txXfrm>
    </dsp:sp>
    <dsp:sp modelId="{BFC457F6-FF95-4004-B141-14E05FBDD470}">
      <dsp:nvSpPr>
        <dsp:cNvPr id="0" name=""/>
        <dsp:cNvSpPr/>
      </dsp:nvSpPr>
      <dsp:spPr>
        <a:xfrm>
          <a:off x="1621977" y="1846923"/>
          <a:ext cx="1101950" cy="571746"/>
        </a:xfrm>
        <a:prstGeom prst="roundRect">
          <a:avLst>
            <a:gd name="adj" fmla="val 10000"/>
          </a:avLst>
        </a:prstGeom>
        <a:solidFill>
          <a:srgbClr val="FF99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AGE</a:t>
          </a:r>
          <a:endParaRPr lang="en-US" sz="1100" b="1" kern="1200" dirty="0">
            <a:solidFill>
              <a:schemeClr val="tx1"/>
            </a:solidFill>
          </a:endParaRPr>
        </a:p>
      </dsp:txBody>
      <dsp:txXfrm>
        <a:off x="1638723" y="1863669"/>
        <a:ext cx="1068458" cy="538254"/>
      </dsp:txXfrm>
    </dsp:sp>
    <dsp:sp modelId="{7FBABDE0-A8F4-443F-A518-1C4B4E1141D3}">
      <dsp:nvSpPr>
        <dsp:cNvPr id="0" name=""/>
        <dsp:cNvSpPr/>
      </dsp:nvSpPr>
      <dsp:spPr>
        <a:xfrm>
          <a:off x="1621977" y="2496924"/>
          <a:ext cx="1101950" cy="571746"/>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MIS</a:t>
          </a:r>
          <a:endParaRPr lang="en-US" sz="1100" b="1" kern="1200" dirty="0">
            <a:solidFill>
              <a:schemeClr val="tx1"/>
            </a:solidFill>
          </a:endParaRPr>
        </a:p>
      </dsp:txBody>
      <dsp:txXfrm>
        <a:off x="1638723" y="2513670"/>
        <a:ext cx="1068458" cy="538254"/>
      </dsp:txXfrm>
    </dsp:sp>
    <dsp:sp modelId="{CB60BE14-296E-4077-ADF6-AE6AB117158D}">
      <dsp:nvSpPr>
        <dsp:cNvPr id="0" name=""/>
        <dsp:cNvSpPr/>
      </dsp:nvSpPr>
      <dsp:spPr>
        <a:xfrm>
          <a:off x="1621977" y="3156632"/>
          <a:ext cx="1101950" cy="571746"/>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endParaRPr lang="en-US" sz="1100" b="1" kern="1200" dirty="0">
            <a:solidFill>
              <a:schemeClr val="tx1"/>
            </a:solidFill>
          </a:endParaRPr>
        </a:p>
      </dsp:txBody>
      <dsp:txXfrm>
        <a:off x="1638723" y="3173378"/>
        <a:ext cx="1068458" cy="538254"/>
      </dsp:txXfrm>
    </dsp:sp>
    <dsp:sp modelId="{5B50CB7B-9099-49D3-ABC7-125DCA43CCD9}">
      <dsp:nvSpPr>
        <dsp:cNvPr id="0" name=""/>
        <dsp:cNvSpPr/>
      </dsp:nvSpPr>
      <dsp:spPr>
        <a:xfrm>
          <a:off x="2964979" y="0"/>
          <a:ext cx="1377438" cy="392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Accounts Payable and Cash Management</a:t>
          </a:r>
          <a:endParaRPr lang="en-US" sz="1800" kern="1200" dirty="0"/>
        </a:p>
      </dsp:txBody>
      <dsp:txXfrm>
        <a:off x="2964979" y="0"/>
        <a:ext cx="1377438" cy="1177413"/>
      </dsp:txXfrm>
    </dsp:sp>
    <dsp:sp modelId="{249765C8-CC0F-4DDC-B32D-FF11D3CE524B}">
      <dsp:nvSpPr>
        <dsp:cNvPr id="0" name=""/>
        <dsp:cNvSpPr/>
      </dsp:nvSpPr>
      <dsp:spPr>
        <a:xfrm>
          <a:off x="3102723" y="1177748"/>
          <a:ext cx="1101950" cy="771048"/>
        </a:xfrm>
        <a:prstGeom prst="roundRect">
          <a:avLst>
            <a:gd name="adj" fmla="val 10000"/>
          </a:avLst>
        </a:prstGeom>
        <a:solidFill>
          <a:srgbClr val="FF99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AGE</a:t>
          </a:r>
          <a:endParaRPr lang="en-US" sz="1100" b="1" kern="1200" dirty="0">
            <a:solidFill>
              <a:schemeClr val="tx1"/>
            </a:solidFill>
          </a:endParaRPr>
        </a:p>
      </dsp:txBody>
      <dsp:txXfrm>
        <a:off x="3125306" y="1200331"/>
        <a:ext cx="1056784" cy="725882"/>
      </dsp:txXfrm>
    </dsp:sp>
    <dsp:sp modelId="{F160AE3C-F036-402B-8D8F-2D8AB14DD91F}">
      <dsp:nvSpPr>
        <dsp:cNvPr id="0" name=""/>
        <dsp:cNvSpPr/>
      </dsp:nvSpPr>
      <dsp:spPr>
        <a:xfrm>
          <a:off x="3102723" y="2067420"/>
          <a:ext cx="1101950" cy="771048"/>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MIS</a:t>
          </a:r>
          <a:endParaRPr lang="en-US" sz="1100" b="1" kern="1200" dirty="0">
            <a:solidFill>
              <a:schemeClr val="tx1"/>
            </a:solidFill>
          </a:endParaRPr>
        </a:p>
      </dsp:txBody>
      <dsp:txXfrm>
        <a:off x="3125306" y="2090003"/>
        <a:ext cx="1056784" cy="725882"/>
      </dsp:txXfrm>
    </dsp:sp>
    <dsp:sp modelId="{FAE56CCC-BDFB-4648-9D9F-FFB8983222B2}">
      <dsp:nvSpPr>
        <dsp:cNvPr id="0" name=""/>
        <dsp:cNvSpPr/>
      </dsp:nvSpPr>
      <dsp:spPr>
        <a:xfrm>
          <a:off x="3102723" y="2957091"/>
          <a:ext cx="1101950" cy="771048"/>
        </a:xfrm>
        <a:prstGeom prst="roundRect">
          <a:avLst>
            <a:gd name="adj" fmla="val 10000"/>
          </a:avLst>
        </a:prstGeom>
        <a:solidFill>
          <a:srgbClr val="F046D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Reapatala</a:t>
          </a:r>
          <a:endParaRPr lang="en-US" sz="1100" b="1" kern="1200" dirty="0">
            <a:solidFill>
              <a:schemeClr val="tx1"/>
            </a:solidFill>
          </a:endParaRPr>
        </a:p>
      </dsp:txBody>
      <dsp:txXfrm>
        <a:off x="3125306" y="2979674"/>
        <a:ext cx="1056784" cy="725882"/>
      </dsp:txXfrm>
    </dsp:sp>
    <dsp:sp modelId="{DA9E3B09-B218-424D-9A9E-6C0B281596BB}">
      <dsp:nvSpPr>
        <dsp:cNvPr id="0" name=""/>
        <dsp:cNvSpPr/>
      </dsp:nvSpPr>
      <dsp:spPr>
        <a:xfrm>
          <a:off x="4445726" y="0"/>
          <a:ext cx="1377438" cy="392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Financial Accounting</a:t>
          </a:r>
          <a:endParaRPr lang="en-US" sz="1800" kern="1200" dirty="0"/>
        </a:p>
      </dsp:txBody>
      <dsp:txXfrm>
        <a:off x="4445726" y="0"/>
        <a:ext cx="1377438" cy="1177413"/>
      </dsp:txXfrm>
    </dsp:sp>
    <dsp:sp modelId="{C9EBDD62-4263-4E86-8EC6-823521B7196B}">
      <dsp:nvSpPr>
        <dsp:cNvPr id="0" name=""/>
        <dsp:cNvSpPr/>
      </dsp:nvSpPr>
      <dsp:spPr>
        <a:xfrm>
          <a:off x="4583756" y="1191439"/>
          <a:ext cx="1101950" cy="259403"/>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MIS</a:t>
          </a:r>
          <a:endParaRPr lang="en-US" sz="1100" b="1" kern="1200" dirty="0">
            <a:solidFill>
              <a:schemeClr val="tx1"/>
            </a:solidFill>
          </a:endParaRPr>
        </a:p>
      </dsp:txBody>
      <dsp:txXfrm>
        <a:off x="4591354" y="1199037"/>
        <a:ext cx="1086754" cy="244207"/>
      </dsp:txXfrm>
    </dsp:sp>
    <dsp:sp modelId="{C7E9CB72-BB50-4175-B9DF-EA831C3D0264}">
      <dsp:nvSpPr>
        <dsp:cNvPr id="0" name=""/>
        <dsp:cNvSpPr/>
      </dsp:nvSpPr>
      <dsp:spPr>
        <a:xfrm>
          <a:off x="4583470" y="1477986"/>
          <a:ext cx="1101950" cy="259403"/>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latin typeface="+mn-lt"/>
            </a:rPr>
            <a:t>WCS</a:t>
          </a:r>
        </a:p>
      </dsp:txBody>
      <dsp:txXfrm>
        <a:off x="4591068" y="1485584"/>
        <a:ext cx="1086754" cy="244207"/>
      </dsp:txXfrm>
    </dsp:sp>
    <dsp:sp modelId="{0891D493-71E1-4FEE-8709-DEB031B5BDD3}">
      <dsp:nvSpPr>
        <dsp:cNvPr id="0" name=""/>
        <dsp:cNvSpPr/>
      </dsp:nvSpPr>
      <dsp:spPr>
        <a:xfrm>
          <a:off x="4583756" y="1790063"/>
          <a:ext cx="1101950" cy="4533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upplier Verification System - CSD</a:t>
          </a:r>
        </a:p>
      </dsp:txBody>
      <dsp:txXfrm>
        <a:off x="4597034" y="1803341"/>
        <a:ext cx="1075394" cy="426801"/>
      </dsp:txXfrm>
    </dsp:sp>
    <dsp:sp modelId="{C1F6081B-E04D-4213-B0A0-3E87B2D41791}">
      <dsp:nvSpPr>
        <dsp:cNvPr id="0" name=""/>
        <dsp:cNvSpPr/>
      </dsp:nvSpPr>
      <dsp:spPr>
        <a:xfrm>
          <a:off x="4583470" y="2270563"/>
          <a:ext cx="1101950" cy="259403"/>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Archibus</a:t>
          </a:r>
          <a:endParaRPr lang="en-US" sz="1900" b="1" kern="1200" dirty="0">
            <a:solidFill>
              <a:schemeClr val="tx1"/>
            </a:solidFill>
          </a:endParaRPr>
        </a:p>
      </dsp:txBody>
      <dsp:txXfrm>
        <a:off x="4591068" y="2278161"/>
        <a:ext cx="1086754" cy="244207"/>
      </dsp:txXfrm>
    </dsp:sp>
    <dsp:sp modelId="{918A4BFB-BF2A-4402-B7DB-94DAFE48DF60}">
      <dsp:nvSpPr>
        <dsp:cNvPr id="0" name=""/>
        <dsp:cNvSpPr/>
      </dsp:nvSpPr>
      <dsp:spPr>
        <a:xfrm>
          <a:off x="4583470" y="2569875"/>
          <a:ext cx="1101950" cy="259403"/>
        </a:xfrm>
        <a:prstGeom prst="roundRect">
          <a:avLst>
            <a:gd name="adj" fmla="val 1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afety Net</a:t>
          </a:r>
        </a:p>
      </dsp:txBody>
      <dsp:txXfrm>
        <a:off x="4591068" y="2577473"/>
        <a:ext cx="1086754" cy="244207"/>
      </dsp:txXfrm>
    </dsp:sp>
    <dsp:sp modelId="{A8572CC3-A41A-4C0E-82DE-811FE01F0C2A}">
      <dsp:nvSpPr>
        <dsp:cNvPr id="0" name=""/>
        <dsp:cNvSpPr/>
      </dsp:nvSpPr>
      <dsp:spPr>
        <a:xfrm>
          <a:off x="4583470" y="2869187"/>
          <a:ext cx="1101950" cy="259403"/>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orx4U</a:t>
          </a:r>
        </a:p>
      </dsp:txBody>
      <dsp:txXfrm>
        <a:off x="4591068" y="2876785"/>
        <a:ext cx="1086754" cy="244207"/>
      </dsp:txXfrm>
    </dsp:sp>
    <dsp:sp modelId="{4034F00C-E5AD-4884-B486-2DDE31DFE39D}">
      <dsp:nvSpPr>
        <dsp:cNvPr id="0" name=""/>
        <dsp:cNvSpPr/>
      </dsp:nvSpPr>
      <dsp:spPr>
        <a:xfrm>
          <a:off x="4583470" y="3168499"/>
          <a:ext cx="1101950" cy="259403"/>
        </a:xfrm>
        <a:prstGeom prst="roundRect">
          <a:avLst>
            <a:gd name="adj" fmla="val 10000"/>
          </a:avLst>
        </a:prstGeom>
        <a:solidFill>
          <a:srgbClr val="FF99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AGE</a:t>
          </a:r>
        </a:p>
      </dsp:txBody>
      <dsp:txXfrm>
        <a:off x="4591068" y="3176097"/>
        <a:ext cx="1086754" cy="244207"/>
      </dsp:txXfrm>
    </dsp:sp>
    <dsp:sp modelId="{0EC030F3-6EB7-4AAC-B987-B09AE38FBB26}">
      <dsp:nvSpPr>
        <dsp:cNvPr id="0" name=""/>
        <dsp:cNvSpPr/>
      </dsp:nvSpPr>
      <dsp:spPr>
        <a:xfrm>
          <a:off x="4583470" y="3467811"/>
          <a:ext cx="1101950" cy="259403"/>
        </a:xfrm>
        <a:prstGeom prst="roundRect">
          <a:avLst>
            <a:gd name="adj" fmla="val 10000"/>
          </a:avLst>
        </a:prstGeom>
        <a:solidFill>
          <a:srgbClr val="F046D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Reapatala</a:t>
          </a:r>
          <a:endParaRPr lang="en-US" sz="1400" b="1" kern="1200" dirty="0">
            <a:solidFill>
              <a:schemeClr val="tx1"/>
            </a:solidFill>
          </a:endParaRPr>
        </a:p>
      </dsp:txBody>
      <dsp:txXfrm>
        <a:off x="4591068" y="3475409"/>
        <a:ext cx="1086754" cy="244207"/>
      </dsp:txXfrm>
    </dsp:sp>
    <dsp:sp modelId="{33902426-98D2-4C5F-B344-ECB12B30DF14}">
      <dsp:nvSpPr>
        <dsp:cNvPr id="0" name=""/>
        <dsp:cNvSpPr/>
      </dsp:nvSpPr>
      <dsp:spPr>
        <a:xfrm>
          <a:off x="5926473" y="0"/>
          <a:ext cx="1377438" cy="392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Financial Reporting</a:t>
          </a:r>
          <a:endParaRPr lang="en-US" sz="1800" kern="1200" dirty="0"/>
        </a:p>
      </dsp:txBody>
      <dsp:txXfrm>
        <a:off x="5926473" y="0"/>
        <a:ext cx="1377438" cy="1177413"/>
      </dsp:txXfrm>
    </dsp:sp>
    <dsp:sp modelId="{A0DCFAD7-28D4-46EE-ACEA-4B2AF9D93A12}">
      <dsp:nvSpPr>
        <dsp:cNvPr id="0" name=""/>
        <dsp:cNvSpPr/>
      </dsp:nvSpPr>
      <dsp:spPr>
        <a:xfrm>
          <a:off x="6064216" y="1178155"/>
          <a:ext cx="1101950" cy="454034"/>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CS</a:t>
          </a:r>
        </a:p>
      </dsp:txBody>
      <dsp:txXfrm>
        <a:off x="6077514" y="1191453"/>
        <a:ext cx="1075354" cy="427438"/>
      </dsp:txXfrm>
    </dsp:sp>
    <dsp:sp modelId="{CCC92EE9-D638-4053-81D4-180EADE935C5}">
      <dsp:nvSpPr>
        <dsp:cNvPr id="0" name=""/>
        <dsp:cNvSpPr/>
      </dsp:nvSpPr>
      <dsp:spPr>
        <a:xfrm>
          <a:off x="6064216" y="1702041"/>
          <a:ext cx="1101950" cy="454034"/>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MIS</a:t>
          </a:r>
        </a:p>
      </dsp:txBody>
      <dsp:txXfrm>
        <a:off x="6077514" y="1715339"/>
        <a:ext cx="1075354" cy="427438"/>
      </dsp:txXfrm>
    </dsp:sp>
    <dsp:sp modelId="{AF028914-7002-41E9-B5A6-D3D7DFC1B2F1}">
      <dsp:nvSpPr>
        <dsp:cNvPr id="0" name=""/>
        <dsp:cNvSpPr/>
      </dsp:nvSpPr>
      <dsp:spPr>
        <a:xfrm>
          <a:off x="6064216" y="2225927"/>
          <a:ext cx="1101950" cy="454034"/>
        </a:xfrm>
        <a:prstGeom prst="roundRect">
          <a:avLst>
            <a:gd name="adj" fmla="val 10000"/>
          </a:avLst>
        </a:prstGeom>
        <a:solidFill>
          <a:srgbClr val="FF99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AGE</a:t>
          </a:r>
        </a:p>
      </dsp:txBody>
      <dsp:txXfrm>
        <a:off x="6077514" y="2239225"/>
        <a:ext cx="1075354" cy="427438"/>
      </dsp:txXfrm>
    </dsp:sp>
    <dsp:sp modelId="{F9E85531-19BC-430C-B972-B0E064303B02}">
      <dsp:nvSpPr>
        <dsp:cNvPr id="0" name=""/>
        <dsp:cNvSpPr/>
      </dsp:nvSpPr>
      <dsp:spPr>
        <a:xfrm>
          <a:off x="6064216" y="2749812"/>
          <a:ext cx="1101950" cy="454034"/>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ZA" sz="1400" b="1" kern="1200" dirty="0">
              <a:solidFill>
                <a:schemeClr val="tx1"/>
              </a:solidFill>
            </a:rPr>
            <a:t>Archibus</a:t>
          </a:r>
          <a:endParaRPr lang="en-US" sz="1400" b="1" kern="1200" dirty="0">
            <a:solidFill>
              <a:schemeClr val="tx1"/>
            </a:solidFill>
          </a:endParaRPr>
        </a:p>
      </dsp:txBody>
      <dsp:txXfrm>
        <a:off x="6077514" y="2763110"/>
        <a:ext cx="1075354" cy="427438"/>
      </dsp:txXfrm>
    </dsp:sp>
    <dsp:sp modelId="{DCB21598-7BC3-44E1-826B-78B749F386EA}">
      <dsp:nvSpPr>
        <dsp:cNvPr id="0" name=""/>
        <dsp:cNvSpPr/>
      </dsp:nvSpPr>
      <dsp:spPr>
        <a:xfrm>
          <a:off x="6064216" y="3273698"/>
          <a:ext cx="1101950" cy="454034"/>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Worx4U</a:t>
          </a:r>
        </a:p>
      </dsp:txBody>
      <dsp:txXfrm>
        <a:off x="6077514" y="3286996"/>
        <a:ext cx="1075354" cy="427438"/>
      </dsp:txXfrm>
    </dsp:sp>
    <dsp:sp modelId="{B63830DF-4979-4A38-A89A-2842F658E1CE}">
      <dsp:nvSpPr>
        <dsp:cNvPr id="0" name=""/>
        <dsp:cNvSpPr/>
      </dsp:nvSpPr>
      <dsp:spPr>
        <a:xfrm>
          <a:off x="7407219" y="0"/>
          <a:ext cx="1377438" cy="392471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kern="1200" dirty="0"/>
            <a:t>Payroll Management</a:t>
          </a:r>
          <a:endParaRPr lang="en-US" sz="1800" kern="1200" dirty="0"/>
        </a:p>
      </dsp:txBody>
      <dsp:txXfrm>
        <a:off x="7407219" y="0"/>
        <a:ext cx="1377438" cy="1177413"/>
      </dsp:txXfrm>
    </dsp:sp>
    <dsp:sp modelId="{CBFDBA95-0BA1-4FCB-9BEF-8558B1179891}">
      <dsp:nvSpPr>
        <dsp:cNvPr id="0" name=""/>
        <dsp:cNvSpPr/>
      </dsp:nvSpPr>
      <dsp:spPr>
        <a:xfrm>
          <a:off x="7544963" y="1178563"/>
          <a:ext cx="1101950" cy="1183354"/>
        </a:xfrm>
        <a:prstGeom prst="roundRect">
          <a:avLst>
            <a:gd name="adj" fmla="val 10000"/>
          </a:avLst>
        </a:prstGeom>
        <a:solidFill>
          <a:srgbClr val="FF99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SAGE</a:t>
          </a:r>
        </a:p>
      </dsp:txBody>
      <dsp:txXfrm>
        <a:off x="7577238" y="1210838"/>
        <a:ext cx="1037400" cy="1118804"/>
      </dsp:txXfrm>
    </dsp:sp>
    <dsp:sp modelId="{EBB93498-7FCC-44DC-BCCD-E4E5FAC2A640}">
      <dsp:nvSpPr>
        <dsp:cNvPr id="0" name=""/>
        <dsp:cNvSpPr/>
      </dsp:nvSpPr>
      <dsp:spPr>
        <a:xfrm>
          <a:off x="7544963" y="2543971"/>
          <a:ext cx="1101950" cy="11833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b="1" kern="1200" dirty="0">
              <a:solidFill>
                <a:schemeClr val="tx1"/>
              </a:solidFill>
            </a:rPr>
            <a:t>PERSAL</a:t>
          </a:r>
        </a:p>
      </dsp:txBody>
      <dsp:txXfrm>
        <a:off x="7577238" y="2576246"/>
        <a:ext cx="1037400" cy="111880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859F91-412D-4656-AEAD-57BD7FF7A8A7}">
      <dsp:nvSpPr>
        <dsp:cNvPr id="0" name=""/>
        <dsp:cNvSpPr/>
      </dsp:nvSpPr>
      <dsp:spPr>
        <a:xfrm>
          <a:off x="0" y="0"/>
          <a:ext cx="8158950" cy="1947646"/>
        </a:xfrm>
        <a:prstGeom prst="roundRect">
          <a:avLst>
            <a:gd name="adj" fmla="val 10000"/>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4F4987-3522-4BC4-8B07-65F835B3E5DD}">
      <dsp:nvSpPr>
        <dsp:cNvPr id="0" name=""/>
        <dsp:cNvSpPr/>
      </dsp:nvSpPr>
      <dsp:spPr>
        <a:xfrm>
          <a:off x="249448" y="164581"/>
          <a:ext cx="3647644" cy="1428274"/>
        </a:xfrm>
        <a:prstGeom prst="roundRect">
          <a:avLst>
            <a:gd name="adj" fmla="val 10000"/>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12AC191-2BA8-43BB-8932-AD9C7EB2C652}">
      <dsp:nvSpPr>
        <dsp:cNvPr id="0" name=""/>
        <dsp:cNvSpPr/>
      </dsp:nvSpPr>
      <dsp:spPr>
        <a:xfrm rot="10800000">
          <a:off x="249448" y="1454374"/>
          <a:ext cx="3647644" cy="2760878"/>
        </a:xfrm>
        <a:prstGeom prst="round2SameRect">
          <a:avLst>
            <a:gd name="adj1" fmla="val 10500"/>
            <a:gd name="adj2" fmla="val 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lvl="0" algn="l" defTabSz="622300" rtl="0">
            <a:lnSpc>
              <a:spcPct val="90000"/>
            </a:lnSpc>
            <a:spcBef>
              <a:spcPct val="0"/>
            </a:spcBef>
            <a:spcAft>
              <a:spcPct val="35000"/>
            </a:spcAft>
          </a:pPr>
          <a:r>
            <a:rPr lang="en-US" sz="1400" kern="1200" baseline="0" dirty="0">
              <a:solidFill>
                <a:schemeClr val="dk1"/>
              </a:solidFill>
              <a:latin typeface="+mn-lt"/>
              <a:ea typeface="+mn-ea"/>
              <a:cs typeface="+mn-cs"/>
            </a:rPr>
            <a:t>Is a system that manages the operational aspects of Asset Management lifecycle</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Immovable Asset Management </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Movable Asset Management </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Lease IN</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Lease OUT</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FM: Unscheduled Maintenance</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FM: Scheduled Maintenance</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Condition Assessment </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Project Management </a:t>
          </a:r>
        </a:p>
        <a:p>
          <a:pPr marL="171450" lvl="1" indent="-171450" algn="l" defTabSz="711200" rtl="0">
            <a:lnSpc>
              <a:spcPct val="90000"/>
            </a:lnSpc>
            <a:spcBef>
              <a:spcPct val="0"/>
            </a:spcBef>
            <a:spcAft>
              <a:spcPct val="15000"/>
            </a:spcAft>
            <a:buChar char="••"/>
          </a:pPr>
          <a:endParaRPr lang="en-US" sz="1600" b="1" kern="1200" dirty="0"/>
        </a:p>
      </dsp:txBody>
      <dsp:txXfrm rot="10800000">
        <a:off x="334355" y="1454374"/>
        <a:ext cx="3477830" cy="2675971"/>
      </dsp:txXfrm>
    </dsp:sp>
    <dsp:sp modelId="{45CC7BC0-E5DD-4381-8A1D-E6D31D2DE0C5}">
      <dsp:nvSpPr>
        <dsp:cNvPr id="0" name=""/>
        <dsp:cNvSpPr/>
      </dsp:nvSpPr>
      <dsp:spPr>
        <a:xfrm>
          <a:off x="4321642" y="191357"/>
          <a:ext cx="3647644" cy="1428274"/>
        </a:xfrm>
        <a:prstGeom prst="roundRect">
          <a:avLst>
            <a:gd name="adj" fmla="val 10000"/>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E6E390-3E53-4326-9D64-DD92B30B9C9D}">
      <dsp:nvSpPr>
        <dsp:cNvPr id="0" name=""/>
        <dsp:cNvSpPr/>
      </dsp:nvSpPr>
      <dsp:spPr>
        <a:xfrm rot="10800000">
          <a:off x="4312194" y="1631355"/>
          <a:ext cx="3647644" cy="2380457"/>
        </a:xfrm>
        <a:prstGeom prst="round2SameRect">
          <a:avLst>
            <a:gd name="adj1" fmla="val 10500"/>
            <a:gd name="adj2" fmla="val 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0">
          <a:noAutofit/>
        </a:bodyPr>
        <a:lstStyle/>
        <a:p>
          <a:pPr lvl="0" algn="l" defTabSz="622300" rtl="0">
            <a:lnSpc>
              <a:spcPct val="90000"/>
            </a:lnSpc>
            <a:spcBef>
              <a:spcPct val="0"/>
            </a:spcBef>
            <a:spcAft>
              <a:spcPct val="35000"/>
            </a:spcAft>
          </a:pPr>
          <a:r>
            <a:rPr lang="en-US" sz="1400" kern="1200" baseline="0" dirty="0">
              <a:solidFill>
                <a:schemeClr val="dk1"/>
              </a:solidFill>
              <a:latin typeface="+mn-lt"/>
              <a:ea typeface="+mn-ea"/>
              <a:cs typeface="+mn-cs"/>
            </a:rPr>
            <a:t>Provides the platform on which financial transactions take place</a:t>
          </a:r>
        </a:p>
        <a:p>
          <a:pPr lvl="0" algn="l" defTabSz="622300" rtl="0">
            <a:lnSpc>
              <a:spcPct val="90000"/>
            </a:lnSpc>
            <a:spcBef>
              <a:spcPct val="0"/>
            </a:spcBef>
            <a:spcAft>
              <a:spcPct val="35000"/>
            </a:spcAft>
          </a:pPr>
          <a:r>
            <a:rPr lang="en-US" sz="1400" kern="1200" baseline="0" dirty="0">
              <a:solidFill>
                <a:schemeClr val="dk1"/>
              </a:solidFill>
              <a:latin typeface="+mn-lt"/>
              <a:ea typeface="+mn-ea"/>
              <a:cs typeface="+mn-cs"/>
            </a:rPr>
            <a:t>Consists of</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Variable (property) payments</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Accounts Payable</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Accounts Receivable</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Budgeting</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Bank recon</a:t>
          </a:r>
        </a:p>
        <a:p>
          <a:pPr marL="114300" lvl="1" indent="-114300" algn="l" defTabSz="622300" rtl="0">
            <a:lnSpc>
              <a:spcPct val="90000"/>
            </a:lnSpc>
            <a:spcBef>
              <a:spcPct val="0"/>
            </a:spcBef>
            <a:spcAft>
              <a:spcPct val="15000"/>
            </a:spcAft>
            <a:buChar char="••"/>
          </a:pPr>
          <a:r>
            <a:rPr lang="en-US" sz="1400" kern="1200" baseline="0" dirty="0">
              <a:solidFill>
                <a:schemeClr val="dk1"/>
              </a:solidFill>
              <a:latin typeface="+mn-lt"/>
              <a:ea typeface="+mn-ea"/>
              <a:cs typeface="+mn-cs"/>
            </a:rPr>
            <a:t>Procurement module</a:t>
          </a:r>
        </a:p>
        <a:p>
          <a:pPr marL="171450" lvl="1" indent="-171450" algn="l" defTabSz="711200" rtl="0">
            <a:lnSpc>
              <a:spcPct val="90000"/>
            </a:lnSpc>
            <a:spcBef>
              <a:spcPct val="0"/>
            </a:spcBef>
            <a:spcAft>
              <a:spcPct val="15000"/>
            </a:spcAft>
            <a:buChar char="••"/>
          </a:pPr>
          <a:endParaRPr lang="en-US" sz="1600" b="1" kern="1200" dirty="0"/>
        </a:p>
        <a:p>
          <a:pPr marL="171450" lvl="1" indent="-171450" algn="l" defTabSz="711200" rtl="0">
            <a:lnSpc>
              <a:spcPct val="90000"/>
            </a:lnSpc>
            <a:spcBef>
              <a:spcPct val="0"/>
            </a:spcBef>
            <a:spcAft>
              <a:spcPct val="15000"/>
            </a:spcAft>
            <a:buChar char="••"/>
          </a:pPr>
          <a:endParaRPr lang="en-US" sz="1600" b="1" kern="1200" dirty="0"/>
        </a:p>
        <a:p>
          <a:pPr marL="171450" lvl="1" indent="-171450" algn="l" defTabSz="711200" rtl="0">
            <a:lnSpc>
              <a:spcPct val="90000"/>
            </a:lnSpc>
            <a:spcBef>
              <a:spcPct val="0"/>
            </a:spcBef>
            <a:spcAft>
              <a:spcPct val="15000"/>
            </a:spcAft>
            <a:buChar char="••"/>
          </a:pPr>
          <a:r>
            <a:rPr lang="en-US" sz="1600" b="1" i="1" kern="1200" dirty="0"/>
            <a:t>Procurement</a:t>
          </a:r>
          <a:endParaRPr lang="en-US" sz="1600" b="1" kern="1200" dirty="0"/>
        </a:p>
      </dsp:txBody>
      <dsp:txXfrm rot="10800000">
        <a:off x="4385401" y="1631355"/>
        <a:ext cx="3501230" cy="230725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F7CD8D-D80B-5A48-A349-2DF9761E7B8D}">
      <dsp:nvSpPr>
        <dsp:cNvPr id="0" name=""/>
        <dsp:cNvSpPr/>
      </dsp:nvSpPr>
      <dsp:spPr>
        <a:xfrm>
          <a:off x="4098" y="0"/>
          <a:ext cx="1044488" cy="2474757"/>
        </a:xfrm>
        <a:prstGeom prst="roundRect">
          <a:avLst>
            <a:gd name="adj" fmla="val 10000"/>
          </a:avLst>
        </a:prstGeom>
        <a:solidFill>
          <a:schemeClr val="bg1"/>
        </a:solidFill>
        <a:ln>
          <a:solidFill>
            <a:schemeClr val="accent1"/>
          </a:solid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1" kern="1200" dirty="0">
              <a:solidFill>
                <a:schemeClr val="tx1"/>
              </a:solidFill>
              <a:latin typeface="Arial Rounded MT Bold" panose="020F0704030504030204" pitchFamily="34" charset="77"/>
            </a:rPr>
            <a:t>Planning (DPW Family</a:t>
          </a:r>
          <a:r>
            <a:rPr lang="en-ZA" sz="1400" b="1" kern="1200" dirty="0">
              <a:solidFill>
                <a:schemeClr val="tx1"/>
              </a:solidFill>
              <a:latin typeface="Arial Rounded MT Bold" panose="020F0704030504030204" pitchFamily="34" charset="77"/>
            </a:rPr>
            <a:t>)</a:t>
          </a:r>
          <a:endParaRPr lang="en-US" sz="1400" b="1" kern="1200" dirty="0">
            <a:solidFill>
              <a:schemeClr val="tx1"/>
            </a:solidFill>
            <a:latin typeface="Arial Rounded MT Bold" panose="020F0704030504030204" pitchFamily="34" charset="77"/>
          </a:endParaRPr>
        </a:p>
      </dsp:txBody>
      <dsp:txXfrm>
        <a:off x="4098" y="0"/>
        <a:ext cx="1044488" cy="742427"/>
      </dsp:txXfrm>
    </dsp:sp>
    <dsp:sp modelId="{F7B96694-72B7-1C43-AB96-15C2E32879A9}">
      <dsp:nvSpPr>
        <dsp:cNvPr id="0" name=""/>
        <dsp:cNvSpPr/>
      </dsp:nvSpPr>
      <dsp:spPr>
        <a:xfrm>
          <a:off x="108547" y="742638"/>
          <a:ext cx="835590" cy="486190"/>
        </a:xfrm>
        <a:prstGeom prst="roundRect">
          <a:avLst>
            <a:gd name="adj" fmla="val 10000"/>
          </a:avLst>
        </a:prstGeom>
        <a:solidFill>
          <a:srgbClr val="E36C0A"/>
        </a:solidFill>
        <a:ln>
          <a:no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Estate</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Portfolio</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Management</a:t>
          </a:r>
        </a:p>
      </dsp:txBody>
      <dsp:txXfrm>
        <a:off x="122787" y="756878"/>
        <a:ext cx="807110" cy="457710"/>
      </dsp:txXfrm>
    </dsp:sp>
    <dsp:sp modelId="{B794C6EF-8EB0-F642-ABCD-7DED20C213D3}">
      <dsp:nvSpPr>
        <dsp:cNvPr id="0" name=""/>
        <dsp:cNvSpPr/>
      </dsp:nvSpPr>
      <dsp:spPr>
        <a:xfrm>
          <a:off x="108547" y="1303627"/>
          <a:ext cx="835590" cy="486190"/>
        </a:xfrm>
        <a:prstGeom prst="roundRect">
          <a:avLst>
            <a:gd name="adj" fmla="val 10000"/>
          </a:avLst>
        </a:prstGeom>
        <a:solidFill>
          <a:srgbClr val="FFC000"/>
        </a:solidFill>
        <a:ln w="6350" cap="flat" cmpd="sng" algn="ctr">
          <a:solidFill>
            <a:srgbClr val="FFC000"/>
          </a:solidFill>
          <a:prstDash val="solid"/>
          <a:miter lim="800000"/>
        </a:ln>
        <a:effectLst/>
      </dsp:spPr>
      <dsp:style>
        <a:lnRef idx="1">
          <a:schemeClr val="accent3"/>
        </a:lnRef>
        <a:fillRef idx="3">
          <a:schemeClr val="accent3"/>
        </a:fillRef>
        <a:effectRef idx="2">
          <a:schemeClr val="accent3"/>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Capital</a:t>
          </a:r>
          <a:r>
            <a:rPr lang="en-US" sz="1100" b="1" kern="1200" dirty="0">
              <a:solidFill>
                <a:schemeClr val="bg1"/>
              </a:solidFill>
              <a:latin typeface="Calibri"/>
              <a:ea typeface="+mn-ea"/>
              <a:cs typeface="+mn-cs"/>
            </a:rPr>
            <a:t> </a:t>
          </a:r>
          <a:r>
            <a:rPr lang="en-US" sz="1100" b="1" kern="1200" dirty="0">
              <a:solidFill>
                <a:prstClr val="black">
                  <a:hueOff val="0"/>
                  <a:satOff val="0"/>
                  <a:lumOff val="0"/>
                  <a:alphaOff val="0"/>
                </a:prstClr>
              </a:solidFill>
              <a:latin typeface="Calibri"/>
              <a:ea typeface="+mn-ea"/>
              <a:cs typeface="+mn-cs"/>
            </a:rPr>
            <a:t>Budgeting</a:t>
          </a:r>
        </a:p>
      </dsp:txBody>
      <dsp:txXfrm>
        <a:off x="122787" y="1317867"/>
        <a:ext cx="807110" cy="457710"/>
      </dsp:txXfrm>
    </dsp:sp>
    <dsp:sp modelId="{AE126BDF-C1D6-4761-B4F4-49A145A0DD18}">
      <dsp:nvSpPr>
        <dsp:cNvPr id="0" name=""/>
        <dsp:cNvSpPr/>
      </dsp:nvSpPr>
      <dsp:spPr>
        <a:xfrm>
          <a:off x="13929" y="1864617"/>
          <a:ext cx="1024826" cy="486190"/>
        </a:xfrm>
        <a:prstGeom prst="roundRect">
          <a:avLst>
            <a:gd name="adj" fmla="val 10000"/>
          </a:avLst>
        </a:prstGeom>
        <a:solidFill>
          <a:srgbClr val="F79646"/>
        </a:solidFill>
        <a:ln w="6350" cap="flat" cmpd="sng" algn="ctr">
          <a:solidFill>
            <a:srgbClr val="F79646"/>
          </a:solidFill>
          <a:prstDash val="solid"/>
          <a:miter lim="800000"/>
        </a:ln>
        <a:effectLst/>
      </dsp:spPr>
      <dsp:style>
        <a:lnRef idx="1">
          <a:schemeClr val="accent5"/>
        </a:lnRef>
        <a:fillRef idx="3">
          <a:schemeClr val="accent5"/>
        </a:fillRef>
        <a:effectRef idx="2">
          <a:schemeClr val="accent5"/>
        </a:effectRef>
        <a:fontRef idx="minor">
          <a:schemeClr val="lt1"/>
        </a:fontRef>
      </dsp:style>
      <dsp:txBody>
        <a:bodyPr spcFirstLastPara="0" vert="horz" wrap="square" lIns="22860" tIns="17145" rIns="22860" bIns="17145" numCol="1" spcCol="1270" anchor="ctr" anchorCtr="0">
          <a:noAutofit/>
        </a:bodyPr>
        <a:lstStyle/>
        <a:p>
          <a:pPr lvl="0" algn="ctr" defTabSz="622300">
            <a:lnSpc>
              <a:spcPct val="90000"/>
            </a:lnSpc>
            <a:spcBef>
              <a:spcPct val="0"/>
            </a:spcBef>
            <a:spcAft>
              <a:spcPct val="35000"/>
            </a:spcAft>
            <a:buNone/>
          </a:pPr>
          <a:r>
            <a:rPr lang="en-US" sz="1400" b="1" kern="1200" dirty="0">
              <a:solidFill>
                <a:schemeClr val="tx1"/>
              </a:solidFill>
              <a:latin typeface="Calibri"/>
              <a:ea typeface="+mn-ea"/>
              <a:cs typeface="+mn-cs"/>
            </a:rPr>
            <a:t>Asset</a:t>
          </a:r>
          <a:r>
            <a:rPr lang="en-US" sz="1400" b="1" kern="1200" dirty="0">
              <a:solidFill>
                <a:srgbClr val="1F497D"/>
              </a:solidFill>
              <a:latin typeface="Calibri"/>
              <a:ea typeface="+mn-ea"/>
              <a:cs typeface="+mn-cs"/>
            </a:rPr>
            <a:t> </a:t>
          </a:r>
          <a:r>
            <a:rPr lang="en-US" sz="1400" b="1" kern="1200" dirty="0">
              <a:solidFill>
                <a:schemeClr val="tx1"/>
              </a:solidFill>
              <a:latin typeface="Calibri"/>
              <a:ea typeface="+mn-ea"/>
              <a:cs typeface="+mn-cs"/>
            </a:rPr>
            <a:t>Management</a:t>
          </a:r>
          <a:r>
            <a:rPr lang="en-US" sz="1400" b="1" kern="1200" dirty="0">
              <a:solidFill>
                <a:srgbClr val="1F497D"/>
              </a:solidFill>
              <a:latin typeface="Calibri"/>
              <a:ea typeface="+mn-ea"/>
              <a:cs typeface="+mn-cs"/>
            </a:rPr>
            <a:t> </a:t>
          </a:r>
        </a:p>
      </dsp:txBody>
      <dsp:txXfrm>
        <a:off x="28169" y="1878857"/>
        <a:ext cx="996346" cy="457710"/>
      </dsp:txXfrm>
    </dsp:sp>
    <dsp:sp modelId="{CC062044-253D-B041-873A-47F609C9D092}">
      <dsp:nvSpPr>
        <dsp:cNvPr id="0" name=""/>
        <dsp:cNvSpPr/>
      </dsp:nvSpPr>
      <dsp:spPr>
        <a:xfrm>
          <a:off x="1126923" y="0"/>
          <a:ext cx="1044488" cy="2474757"/>
        </a:xfrm>
        <a:prstGeom prst="roundRect">
          <a:avLst>
            <a:gd name="adj" fmla="val 10000"/>
          </a:avLst>
        </a:prstGeom>
        <a:solidFill>
          <a:schemeClr val="bg1"/>
        </a:solidFill>
        <a:ln>
          <a:solidFill>
            <a:schemeClr val="accent1"/>
          </a:solidFill>
          <a:prstDash val="dash"/>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1" kern="1200" dirty="0">
              <a:latin typeface="Arial Rounded MT Bold" panose="020F0704030504030204" pitchFamily="34" charset="77"/>
            </a:rPr>
            <a:t>Demand Management</a:t>
          </a:r>
          <a:endParaRPr lang="en-US" sz="1200" b="1" kern="1200" dirty="0">
            <a:latin typeface="Arial Rounded MT Bold" panose="020F0704030504030204" pitchFamily="34" charset="77"/>
          </a:endParaRPr>
        </a:p>
      </dsp:txBody>
      <dsp:txXfrm>
        <a:off x="1126923" y="0"/>
        <a:ext cx="1044488" cy="742427"/>
      </dsp:txXfrm>
    </dsp:sp>
    <dsp:sp modelId="{3B0DE46D-34C7-D548-92FA-B15FA4A63197}">
      <dsp:nvSpPr>
        <dsp:cNvPr id="0" name=""/>
        <dsp:cNvSpPr/>
      </dsp:nvSpPr>
      <dsp:spPr>
        <a:xfrm>
          <a:off x="1231371" y="742638"/>
          <a:ext cx="835590" cy="486190"/>
        </a:xfrm>
        <a:prstGeom prst="roundRect">
          <a:avLst>
            <a:gd name="adj" fmla="val 10000"/>
          </a:avLst>
        </a:prstGeom>
        <a:solidFill>
          <a:srgbClr val="E36C0A"/>
        </a:solidFill>
        <a:ln w="6350" cap="flat" cmpd="sng" algn="ctr">
          <a:solidFill>
            <a:srgbClr val="E36C0A"/>
          </a:solidFill>
          <a:prstDash val="solid"/>
          <a:miter lim="800000"/>
        </a:ln>
        <a:effectLst/>
      </dsp:spPr>
      <dsp:style>
        <a:lnRef idx="1">
          <a:schemeClr val="accent5"/>
        </a:lnRef>
        <a:fillRef idx="3">
          <a:schemeClr val="accent5"/>
        </a:fillRef>
        <a:effectRef idx="2">
          <a:schemeClr val="accent5"/>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 Estate Portfolio Management </a:t>
          </a:r>
        </a:p>
      </dsp:txBody>
      <dsp:txXfrm>
        <a:off x="1245611" y="756878"/>
        <a:ext cx="807110" cy="457710"/>
      </dsp:txXfrm>
    </dsp:sp>
    <dsp:sp modelId="{A90FEB2D-D9DC-2B47-8C01-DA838B68660D}">
      <dsp:nvSpPr>
        <dsp:cNvPr id="0" name=""/>
        <dsp:cNvSpPr/>
      </dsp:nvSpPr>
      <dsp:spPr>
        <a:xfrm>
          <a:off x="1231371" y="1303627"/>
          <a:ext cx="835590" cy="486190"/>
        </a:xfrm>
        <a:prstGeom prst="roundRect">
          <a:avLst>
            <a:gd name="adj" fmla="val 10000"/>
          </a:avLst>
        </a:prstGeom>
        <a:solidFill>
          <a:srgbClr val="FFC000"/>
        </a:solidFill>
        <a:ln w="6350" cap="flat" cmpd="sng" algn="ctr">
          <a:solidFill>
            <a:srgbClr val="FFC000"/>
          </a:solidFill>
          <a:prstDash val="solid"/>
          <a:miter lim="800000"/>
        </a:ln>
        <a:effectLst/>
      </dsp:spPr>
      <dsp:style>
        <a:lnRef idx="1">
          <a:schemeClr val="accent3"/>
        </a:lnRef>
        <a:fillRef idx="3">
          <a:schemeClr val="accent3"/>
        </a:fillRef>
        <a:effectRef idx="2">
          <a:schemeClr val="accent3"/>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n-US" sz="1100" b="1" kern="1200" dirty="0">
              <a:solidFill>
                <a:prstClr val="black">
                  <a:hueOff val="0"/>
                  <a:satOff val="0"/>
                  <a:lumOff val="0"/>
                  <a:alphaOff val="0"/>
                </a:prstClr>
              </a:solidFill>
              <a:latin typeface="Calibri"/>
              <a:ea typeface="+mn-ea"/>
              <a:cs typeface="+mn-cs"/>
            </a:rPr>
            <a:t>Capital </a:t>
          </a:r>
          <a:r>
            <a:rPr lang="en-US" sz="1100" b="1" kern="1200" dirty="0">
              <a:solidFill>
                <a:schemeClr val="tx1"/>
              </a:solidFill>
              <a:latin typeface="Calibri"/>
              <a:ea typeface="+mn-ea"/>
              <a:cs typeface="+mn-cs"/>
            </a:rPr>
            <a:t>Budgeting</a:t>
          </a:r>
        </a:p>
      </dsp:txBody>
      <dsp:txXfrm>
        <a:off x="1245611" y="1317867"/>
        <a:ext cx="807110" cy="457710"/>
      </dsp:txXfrm>
    </dsp:sp>
    <dsp:sp modelId="{DD439577-A925-492F-A546-14A15855CD65}">
      <dsp:nvSpPr>
        <dsp:cNvPr id="0" name=""/>
        <dsp:cNvSpPr/>
      </dsp:nvSpPr>
      <dsp:spPr>
        <a:xfrm>
          <a:off x="1127365" y="1864617"/>
          <a:ext cx="1043602" cy="486190"/>
        </a:xfrm>
        <a:prstGeom prst="roundRect">
          <a:avLst>
            <a:gd name="adj" fmla="val 10000"/>
          </a:avLst>
        </a:prstGeom>
        <a:solidFill>
          <a:srgbClr val="F79646"/>
        </a:solidFill>
        <a:ln w="6350" cap="flat" cmpd="sng" algn="ctr">
          <a:solidFill>
            <a:srgbClr val="F79646"/>
          </a:solidFill>
          <a:prstDash val="solid"/>
          <a:miter lim="800000"/>
        </a:ln>
        <a:effectLst/>
      </dsp:spPr>
      <dsp:style>
        <a:lnRef idx="1">
          <a:schemeClr val="accent5"/>
        </a:lnRef>
        <a:fillRef idx="3">
          <a:schemeClr val="accent5"/>
        </a:fillRef>
        <a:effectRef idx="2">
          <a:schemeClr val="accent5"/>
        </a:effectRef>
        <a:fontRef idx="minor">
          <a:schemeClr val="lt1"/>
        </a:fontRef>
      </dsp:style>
      <dsp:txBody>
        <a:bodyPr spcFirstLastPara="0" vert="horz" wrap="square" lIns="22860" tIns="17145" rIns="22860" bIns="17145" numCol="1" spcCol="1270" anchor="ctr" anchorCtr="0">
          <a:noAutofit/>
        </a:bodyPr>
        <a:lstStyle/>
        <a:p>
          <a:pPr lvl="0" algn="ctr" defTabSz="622300">
            <a:lnSpc>
              <a:spcPct val="90000"/>
            </a:lnSpc>
            <a:spcBef>
              <a:spcPct val="0"/>
            </a:spcBef>
            <a:spcAft>
              <a:spcPct val="35000"/>
            </a:spcAft>
            <a:buNone/>
          </a:pPr>
          <a:r>
            <a:rPr lang="en-US" sz="1400" b="1" kern="1200" dirty="0">
              <a:solidFill>
                <a:schemeClr val="tx1"/>
              </a:solidFill>
              <a:latin typeface="Calibri"/>
              <a:ea typeface="+mn-ea"/>
              <a:cs typeface="+mn-cs"/>
            </a:rPr>
            <a:t>Asset</a:t>
          </a:r>
          <a:r>
            <a:rPr lang="en-US" sz="1400" b="1" kern="1200" dirty="0">
              <a:solidFill>
                <a:srgbClr val="1F497D"/>
              </a:solidFill>
              <a:latin typeface="Calibri"/>
              <a:ea typeface="+mn-ea"/>
              <a:cs typeface="+mn-cs"/>
            </a:rPr>
            <a:t> </a:t>
          </a:r>
          <a:r>
            <a:rPr lang="en-US" sz="1400" b="1" kern="1200" dirty="0">
              <a:solidFill>
                <a:schemeClr val="tx1"/>
              </a:solidFill>
              <a:latin typeface="Calibri"/>
              <a:ea typeface="+mn-ea"/>
              <a:cs typeface="+mn-cs"/>
            </a:rPr>
            <a:t>Management</a:t>
          </a:r>
          <a:r>
            <a:rPr lang="en-US" sz="1400" b="1" kern="1200" dirty="0">
              <a:solidFill>
                <a:srgbClr val="1F497D"/>
              </a:solidFill>
              <a:latin typeface="Calibri"/>
              <a:ea typeface="+mn-ea"/>
              <a:cs typeface="+mn-cs"/>
            </a:rPr>
            <a:t> </a:t>
          </a:r>
        </a:p>
      </dsp:txBody>
      <dsp:txXfrm>
        <a:off x="1141605" y="1878857"/>
        <a:ext cx="1015122" cy="457710"/>
      </dsp:txXfrm>
    </dsp:sp>
    <dsp:sp modelId="{12A82E8D-E0C0-F446-9677-07106AD831A9}">
      <dsp:nvSpPr>
        <dsp:cNvPr id="0" name=""/>
        <dsp:cNvSpPr/>
      </dsp:nvSpPr>
      <dsp:spPr>
        <a:xfrm>
          <a:off x="2249747" y="0"/>
          <a:ext cx="1044488" cy="2474757"/>
        </a:xfrm>
        <a:prstGeom prst="roundRect">
          <a:avLst>
            <a:gd name="adj" fmla="val 10000"/>
          </a:avLst>
        </a:prstGeom>
        <a:solidFill>
          <a:schemeClr val="bg1"/>
        </a:solidFill>
        <a:ln>
          <a:solidFill>
            <a:schemeClr val="accent1"/>
          </a:solidFill>
          <a:prstDash val="dash"/>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1" kern="1200" dirty="0">
              <a:latin typeface="Arial Rounded MT Bold" panose="020F0704030504030204" pitchFamily="34" charset="77"/>
            </a:rPr>
            <a:t>Acquisition &amp; Disposal</a:t>
          </a:r>
          <a:endParaRPr lang="en-US" sz="1200" b="1" kern="1200" dirty="0">
            <a:latin typeface="Arial Rounded MT Bold" panose="020F0704030504030204" pitchFamily="34" charset="77"/>
          </a:endParaRPr>
        </a:p>
      </dsp:txBody>
      <dsp:txXfrm>
        <a:off x="2249747" y="0"/>
        <a:ext cx="1044488" cy="742427"/>
      </dsp:txXfrm>
    </dsp:sp>
    <dsp:sp modelId="{0BD4D830-0612-9344-AB1A-F53D0CB588A6}">
      <dsp:nvSpPr>
        <dsp:cNvPr id="0" name=""/>
        <dsp:cNvSpPr/>
      </dsp:nvSpPr>
      <dsp:spPr>
        <a:xfrm>
          <a:off x="2298354" y="742427"/>
          <a:ext cx="947275" cy="1608592"/>
        </a:xfrm>
        <a:prstGeom prst="roundRect">
          <a:avLst>
            <a:gd name="adj" fmla="val 10000"/>
          </a:avLst>
        </a:prstGeom>
        <a:solidFill>
          <a:srgbClr val="F79646"/>
        </a:solidFill>
        <a:ln w="6350" cap="flat" cmpd="sng" algn="ctr">
          <a:solidFill>
            <a:srgbClr val="F79646"/>
          </a:solidFill>
          <a:prstDash val="solid"/>
          <a:miter lim="800000"/>
        </a:ln>
        <a:effectLst/>
      </dsp:spPr>
      <dsp:style>
        <a:lnRef idx="1">
          <a:schemeClr val="accent4"/>
        </a:lnRef>
        <a:fillRef idx="3">
          <a:schemeClr val="accent4"/>
        </a:fillRef>
        <a:effectRef idx="2">
          <a:schemeClr val="accent4"/>
        </a:effectRef>
        <a:fontRef idx="minor">
          <a:schemeClr val="lt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b="1" kern="1200" dirty="0">
              <a:solidFill>
                <a:schemeClr val="bg1"/>
              </a:solidFill>
            </a:rPr>
            <a:t> </a:t>
          </a:r>
          <a:r>
            <a:rPr lang="en-US" sz="1100" b="1" kern="1200" dirty="0">
              <a:solidFill>
                <a:schemeClr val="tx1"/>
              </a:solidFill>
            </a:rPr>
            <a:t>Asset</a:t>
          </a:r>
          <a:r>
            <a:rPr lang="en-US" sz="1100" b="1" kern="1200" dirty="0">
              <a:solidFill>
                <a:schemeClr val="bg1"/>
              </a:solidFill>
            </a:rPr>
            <a:t> </a:t>
          </a:r>
          <a:r>
            <a:rPr lang="en-US" sz="1100" b="1" kern="1200" dirty="0">
              <a:solidFill>
                <a:schemeClr val="tx1"/>
              </a:solidFill>
            </a:rPr>
            <a:t>Management</a:t>
          </a:r>
        </a:p>
      </dsp:txBody>
      <dsp:txXfrm>
        <a:off x="2326099" y="770172"/>
        <a:ext cx="891785" cy="1553102"/>
      </dsp:txXfrm>
    </dsp:sp>
    <dsp:sp modelId="{B5568226-AE69-B649-A819-95F4F2365CB9}">
      <dsp:nvSpPr>
        <dsp:cNvPr id="0" name=""/>
        <dsp:cNvSpPr/>
      </dsp:nvSpPr>
      <dsp:spPr>
        <a:xfrm>
          <a:off x="3372572" y="0"/>
          <a:ext cx="1044488" cy="2474757"/>
        </a:xfrm>
        <a:prstGeom prst="roundRect">
          <a:avLst>
            <a:gd name="adj" fmla="val 10000"/>
          </a:avLst>
        </a:prstGeom>
        <a:solidFill>
          <a:schemeClr val="bg1"/>
        </a:solidFill>
        <a:ln>
          <a:solidFill>
            <a:schemeClr val="accent1"/>
          </a:solidFill>
          <a:prstDash val="dash"/>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1" kern="1200" dirty="0">
              <a:latin typeface="Arial Rounded MT Bold" panose="020F0704030504030204" pitchFamily="34" charset="77"/>
            </a:rPr>
            <a:t>REIRS (Asset Register)</a:t>
          </a:r>
          <a:endParaRPr lang="en-US" sz="1200" b="1" kern="1200" dirty="0">
            <a:latin typeface="Arial Rounded MT Bold" panose="020F0704030504030204" pitchFamily="34" charset="77"/>
          </a:endParaRPr>
        </a:p>
      </dsp:txBody>
      <dsp:txXfrm>
        <a:off x="3372572" y="0"/>
        <a:ext cx="1044488" cy="742427"/>
      </dsp:txXfrm>
    </dsp:sp>
    <dsp:sp modelId="{DD42BD83-C17C-2A45-9DAC-098C16706304}">
      <dsp:nvSpPr>
        <dsp:cNvPr id="0" name=""/>
        <dsp:cNvSpPr/>
      </dsp:nvSpPr>
      <dsp:spPr>
        <a:xfrm>
          <a:off x="3477021" y="743152"/>
          <a:ext cx="835590" cy="746173"/>
        </a:xfrm>
        <a:prstGeom prst="roundRect">
          <a:avLst>
            <a:gd name="adj" fmla="val 10000"/>
          </a:avLst>
        </a:prstGeom>
        <a:solidFill>
          <a:srgbClr val="E36C0A"/>
        </a:solidFill>
        <a:ln>
          <a:solidFill>
            <a:srgbClr val="E36C0A"/>
          </a:solid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Estate</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Portfolio</a:t>
          </a:r>
          <a:r>
            <a:rPr lang="en-US" sz="1100" b="1" kern="1200" dirty="0">
              <a:solidFill>
                <a:schemeClr val="bg1"/>
              </a:solidFill>
              <a:latin typeface="Calibri"/>
              <a:ea typeface="+mn-ea"/>
              <a:cs typeface="+mn-cs"/>
            </a:rPr>
            <a:t> </a:t>
          </a:r>
          <a:r>
            <a:rPr lang="en-US" sz="1100" b="1" kern="1200" dirty="0">
              <a:solidFill>
                <a:schemeClr val="tx1"/>
              </a:solidFill>
              <a:latin typeface="Calibri"/>
              <a:ea typeface="+mn-ea"/>
              <a:cs typeface="+mn-cs"/>
            </a:rPr>
            <a:t>Management</a:t>
          </a:r>
        </a:p>
      </dsp:txBody>
      <dsp:txXfrm>
        <a:off x="3498876" y="765007"/>
        <a:ext cx="791880" cy="702463"/>
      </dsp:txXfrm>
    </dsp:sp>
    <dsp:sp modelId="{7D457997-BF0D-EE4F-A021-1E05F7BB04D7}">
      <dsp:nvSpPr>
        <dsp:cNvPr id="0" name=""/>
        <dsp:cNvSpPr/>
      </dsp:nvSpPr>
      <dsp:spPr>
        <a:xfrm>
          <a:off x="3477021" y="1604121"/>
          <a:ext cx="835590" cy="746173"/>
        </a:xfrm>
        <a:prstGeom prst="roundRect">
          <a:avLst>
            <a:gd name="adj" fmla="val 10000"/>
          </a:avLst>
        </a:prstGeom>
        <a:solidFill>
          <a:srgbClr val="F79646"/>
        </a:solidFill>
        <a:ln w="6350" cap="flat" cmpd="sng" algn="ctr">
          <a:solidFill>
            <a:srgbClr val="F79646"/>
          </a:solidFill>
          <a:prstDash val="solid"/>
          <a:miter lim="800000"/>
        </a:ln>
        <a:effectLst/>
      </dsp:spPr>
      <dsp:style>
        <a:lnRef idx="1">
          <a:schemeClr val="accent4"/>
        </a:lnRef>
        <a:fillRef idx="3">
          <a:schemeClr val="accent4"/>
        </a:fillRef>
        <a:effectRef idx="2">
          <a:schemeClr val="accent4"/>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200" b="1" kern="1200" dirty="0">
              <a:solidFill>
                <a:schemeClr val="tx1"/>
              </a:solidFill>
              <a:latin typeface="Calibri"/>
              <a:ea typeface="+mn-ea"/>
              <a:cs typeface="+mn-cs"/>
            </a:rPr>
            <a:t>Asset</a:t>
          </a:r>
          <a:r>
            <a:rPr lang="en-US" sz="1200" b="1" kern="1200" dirty="0">
              <a:solidFill>
                <a:prstClr val="white"/>
              </a:solidFill>
              <a:latin typeface="Calibri"/>
              <a:ea typeface="+mn-ea"/>
              <a:cs typeface="+mn-cs"/>
            </a:rPr>
            <a:t> </a:t>
          </a:r>
          <a:r>
            <a:rPr lang="en-US" sz="1200" b="1" kern="1200" dirty="0">
              <a:solidFill>
                <a:schemeClr val="tx1"/>
              </a:solidFill>
              <a:latin typeface="Calibri"/>
              <a:ea typeface="+mn-ea"/>
              <a:cs typeface="+mn-cs"/>
            </a:rPr>
            <a:t>Management</a:t>
          </a:r>
        </a:p>
      </dsp:txBody>
      <dsp:txXfrm>
        <a:off x="3498876" y="1625976"/>
        <a:ext cx="791880" cy="702463"/>
      </dsp:txXfrm>
    </dsp:sp>
    <dsp:sp modelId="{E51D7272-E701-B047-B3D3-EF8720A57B3B}">
      <dsp:nvSpPr>
        <dsp:cNvPr id="0" name=""/>
        <dsp:cNvSpPr/>
      </dsp:nvSpPr>
      <dsp:spPr>
        <a:xfrm>
          <a:off x="4463425" y="0"/>
          <a:ext cx="1044488" cy="2474757"/>
        </a:xfrm>
        <a:prstGeom prst="roundRect">
          <a:avLst>
            <a:gd name="adj" fmla="val 10000"/>
          </a:avLst>
        </a:prstGeom>
        <a:solidFill>
          <a:schemeClr val="bg1"/>
        </a:solidFill>
        <a:ln>
          <a:solidFill>
            <a:schemeClr val="accent1"/>
          </a:solidFill>
          <a:prstDash val="dash"/>
        </a:ln>
        <a:effectLst/>
      </dsp:spPr>
      <dsp:style>
        <a:lnRef idx="0">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ZA" sz="1400" b="1" kern="1200" dirty="0">
              <a:latin typeface="Arial Rounded MT Bold" panose="020F0704030504030204" pitchFamily="34" charset="77"/>
            </a:rPr>
            <a:t>REMS (Leases)</a:t>
          </a:r>
          <a:endParaRPr lang="en-US" sz="1400" b="1" kern="1200" dirty="0">
            <a:latin typeface="Arial Rounded MT Bold" panose="020F0704030504030204" pitchFamily="34" charset="77"/>
          </a:endParaRPr>
        </a:p>
      </dsp:txBody>
      <dsp:txXfrm>
        <a:off x="4463425" y="0"/>
        <a:ext cx="1044488" cy="742427"/>
      </dsp:txXfrm>
    </dsp:sp>
    <dsp:sp modelId="{44E222EB-8D0F-3343-B35C-BC422DB4612B}">
      <dsp:nvSpPr>
        <dsp:cNvPr id="0" name=""/>
        <dsp:cNvSpPr/>
      </dsp:nvSpPr>
      <dsp:spPr>
        <a:xfrm>
          <a:off x="4599846" y="743152"/>
          <a:ext cx="835590" cy="746173"/>
        </a:xfrm>
        <a:prstGeom prst="roundRect">
          <a:avLst>
            <a:gd name="adj" fmla="val 10000"/>
          </a:avLst>
        </a:prstGeom>
        <a:solidFill>
          <a:srgbClr val="E36C0A"/>
        </a:solidFill>
        <a:ln>
          <a:solidFill>
            <a:srgbClr val="E36C0A"/>
          </a:solid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Estate</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Portfolio</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Management</a:t>
          </a:r>
        </a:p>
      </dsp:txBody>
      <dsp:txXfrm>
        <a:off x="4621701" y="765007"/>
        <a:ext cx="791880" cy="702463"/>
      </dsp:txXfrm>
    </dsp:sp>
    <dsp:sp modelId="{64449E7D-C6FE-475F-83D1-3E131557A18D}">
      <dsp:nvSpPr>
        <dsp:cNvPr id="0" name=""/>
        <dsp:cNvSpPr/>
      </dsp:nvSpPr>
      <dsp:spPr>
        <a:xfrm>
          <a:off x="4599846" y="1604121"/>
          <a:ext cx="835590" cy="746173"/>
        </a:xfrm>
        <a:prstGeom prst="roundRect">
          <a:avLst>
            <a:gd name="adj" fmla="val 10000"/>
          </a:avLst>
        </a:prstGeom>
        <a:solidFill>
          <a:srgbClr val="F79646"/>
        </a:solidFill>
        <a:ln w="6350" cap="flat" cmpd="sng" algn="ctr">
          <a:solidFill>
            <a:srgbClr val="F79646"/>
          </a:solidFill>
          <a:prstDash val="solid"/>
          <a:miter lim="800000"/>
        </a:ln>
        <a:effectLst/>
      </dsp:spPr>
      <dsp:style>
        <a:lnRef idx="1">
          <a:schemeClr val="accent4"/>
        </a:lnRef>
        <a:fillRef idx="3">
          <a:schemeClr val="accent4"/>
        </a:fillRef>
        <a:effectRef idx="2">
          <a:schemeClr val="accent4"/>
        </a:effectRef>
        <a:fontRef idx="minor">
          <a:schemeClr val="lt1"/>
        </a:fontRef>
      </dsp:style>
      <dsp:txBody>
        <a:bodyPr spcFirstLastPara="0" vert="horz" wrap="square" lIns="25400" tIns="19050" rIns="25400" bIns="19050" numCol="1" spcCol="1270" anchor="ctr" anchorCtr="0">
          <a:noAutofit/>
        </a:bodyPr>
        <a:lstStyle/>
        <a:p>
          <a:pPr lvl="0" algn="ctr" defTabSz="800100">
            <a:lnSpc>
              <a:spcPct val="90000"/>
            </a:lnSpc>
            <a:spcBef>
              <a:spcPct val="0"/>
            </a:spcBef>
            <a:spcAft>
              <a:spcPct val="35000"/>
            </a:spcAft>
            <a:buNone/>
          </a:pPr>
          <a:r>
            <a:rPr lang="en-US" sz="1800" b="1" kern="1200" dirty="0">
              <a:solidFill>
                <a:schemeClr val="tx1"/>
              </a:solidFill>
              <a:latin typeface="Calibri"/>
              <a:ea typeface="+mn-ea"/>
              <a:cs typeface="+mn-cs"/>
            </a:rPr>
            <a:t>Asset</a:t>
          </a:r>
          <a:r>
            <a:rPr lang="en-US" sz="1800" b="1" kern="1200" dirty="0">
              <a:solidFill>
                <a:prstClr val="white"/>
              </a:solidFill>
              <a:latin typeface="Calibri"/>
              <a:ea typeface="+mn-ea"/>
              <a:cs typeface="+mn-cs"/>
            </a:rPr>
            <a:t> </a:t>
          </a:r>
          <a:r>
            <a:rPr lang="en-US" sz="1200" b="1" kern="1200" dirty="0">
              <a:solidFill>
                <a:schemeClr val="tx1"/>
              </a:solidFill>
              <a:latin typeface="Calibri"/>
              <a:ea typeface="+mn-ea"/>
              <a:cs typeface="+mn-cs"/>
            </a:rPr>
            <a:t>Management</a:t>
          </a:r>
          <a:endParaRPr lang="en-US" sz="1800" b="1" kern="1200" dirty="0">
            <a:solidFill>
              <a:schemeClr val="tx1"/>
            </a:solidFill>
            <a:latin typeface="Calibri"/>
            <a:ea typeface="+mn-ea"/>
            <a:cs typeface="+mn-cs"/>
          </a:endParaRPr>
        </a:p>
      </dsp:txBody>
      <dsp:txXfrm>
        <a:off x="4621701" y="1625976"/>
        <a:ext cx="791880" cy="702463"/>
      </dsp:txXfrm>
    </dsp:sp>
    <dsp:sp modelId="{E9843257-88A4-A74E-B77F-944E0F51F2D3}">
      <dsp:nvSpPr>
        <dsp:cNvPr id="0" name=""/>
        <dsp:cNvSpPr/>
      </dsp:nvSpPr>
      <dsp:spPr>
        <a:xfrm>
          <a:off x="5618222" y="0"/>
          <a:ext cx="1044488" cy="2474757"/>
        </a:xfrm>
        <a:prstGeom prst="roundRect">
          <a:avLst>
            <a:gd name="adj" fmla="val 10000"/>
          </a:avLst>
        </a:prstGeom>
        <a:solidFill>
          <a:schemeClr val="bg1"/>
        </a:solidFill>
        <a:ln>
          <a:solidFill>
            <a:schemeClr val="accent1"/>
          </a:solidFill>
          <a:prstDash val="dash"/>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1" kern="1200" dirty="0">
              <a:latin typeface="Arial Rounded MT Bold" panose="020F0704030504030204" pitchFamily="34" charset="77"/>
            </a:rPr>
            <a:t>Capital Projects &amp; Budgeting</a:t>
          </a:r>
          <a:endParaRPr lang="en-US" sz="1200" b="1" kern="1200" dirty="0">
            <a:latin typeface="Arial Rounded MT Bold" panose="020F0704030504030204" pitchFamily="34" charset="77"/>
          </a:endParaRPr>
        </a:p>
      </dsp:txBody>
      <dsp:txXfrm>
        <a:off x="5618222" y="0"/>
        <a:ext cx="1044488" cy="742427"/>
      </dsp:txXfrm>
    </dsp:sp>
    <dsp:sp modelId="{CBAFA610-556B-7E44-93A8-B05B1C8A0D0A}">
      <dsp:nvSpPr>
        <dsp:cNvPr id="0" name=""/>
        <dsp:cNvSpPr/>
      </dsp:nvSpPr>
      <dsp:spPr>
        <a:xfrm>
          <a:off x="5722671" y="742427"/>
          <a:ext cx="835590" cy="1608592"/>
        </a:xfrm>
        <a:prstGeom prst="roundRect">
          <a:avLst>
            <a:gd name="adj" fmla="val 10000"/>
          </a:avLst>
        </a:prstGeom>
        <a:solidFill>
          <a:srgbClr val="FFC000"/>
        </a:solidFill>
        <a:ln w="6350" cap="flat" cmpd="sng" algn="ctr">
          <a:solidFill>
            <a:srgbClr val="FFC000"/>
          </a:solidFill>
          <a:prstDash val="solid"/>
          <a:miter lim="800000"/>
        </a:ln>
        <a:effectLst/>
      </dsp:spPr>
      <dsp:style>
        <a:lnRef idx="1">
          <a:schemeClr val="accent3"/>
        </a:lnRef>
        <a:fillRef idx="3">
          <a:schemeClr val="accent3"/>
        </a:fillRef>
        <a:effectRef idx="2">
          <a:schemeClr val="accent3"/>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en-US" sz="1000" b="1" kern="1200" dirty="0"/>
            <a:t>Capital Budgeting Projects</a:t>
          </a:r>
        </a:p>
      </dsp:txBody>
      <dsp:txXfrm>
        <a:off x="5747145" y="766901"/>
        <a:ext cx="786642" cy="1559644"/>
      </dsp:txXfrm>
    </dsp:sp>
    <dsp:sp modelId="{AB794DF4-106E-C24E-9AE8-14A804097BC6}">
      <dsp:nvSpPr>
        <dsp:cNvPr id="0" name=""/>
        <dsp:cNvSpPr/>
      </dsp:nvSpPr>
      <dsp:spPr>
        <a:xfrm>
          <a:off x="6741047" y="0"/>
          <a:ext cx="1044488" cy="2474757"/>
        </a:xfrm>
        <a:prstGeom prst="roundRect">
          <a:avLst>
            <a:gd name="adj" fmla="val 10000"/>
          </a:avLst>
        </a:prstGeom>
        <a:solidFill>
          <a:schemeClr val="bg1"/>
        </a:solidFill>
        <a:ln>
          <a:solidFill>
            <a:schemeClr val="accent1"/>
          </a:solidFill>
          <a:prstDash val="dash"/>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1" kern="1200" dirty="0">
              <a:latin typeface="Arial Rounded MT Bold" panose="020F0704030504030204" pitchFamily="34" charset="77"/>
            </a:rPr>
            <a:t>Facility Management</a:t>
          </a:r>
          <a:endParaRPr lang="en-US" sz="1200" b="1" kern="1200" dirty="0">
            <a:latin typeface="Arial Rounded MT Bold" panose="020F0704030504030204" pitchFamily="34" charset="77"/>
          </a:endParaRPr>
        </a:p>
      </dsp:txBody>
      <dsp:txXfrm>
        <a:off x="6741047" y="0"/>
        <a:ext cx="1044488" cy="742427"/>
      </dsp:txXfrm>
    </dsp:sp>
    <dsp:sp modelId="{AB7F4627-C70C-C348-B8BA-3FEDC730F870}">
      <dsp:nvSpPr>
        <dsp:cNvPr id="0" name=""/>
        <dsp:cNvSpPr/>
      </dsp:nvSpPr>
      <dsp:spPr>
        <a:xfrm>
          <a:off x="6845496" y="742895"/>
          <a:ext cx="835590" cy="286294"/>
        </a:xfrm>
        <a:prstGeom prst="roundRect">
          <a:avLst>
            <a:gd name="adj" fmla="val 10000"/>
          </a:avLst>
        </a:prstGeom>
        <a:solidFill>
          <a:srgbClr val="F79646"/>
        </a:solidFill>
        <a:ln w="6350" cap="flat" cmpd="sng" algn="ctr">
          <a:solidFill>
            <a:srgbClr val="F79646"/>
          </a:solidFill>
          <a:prstDash val="solid"/>
          <a:miter lim="800000"/>
        </a:ln>
        <a:effectLst/>
      </dsp:spPr>
      <dsp:style>
        <a:lnRef idx="1">
          <a:schemeClr val="accent4"/>
        </a:lnRef>
        <a:fillRef idx="3">
          <a:schemeClr val="accent4"/>
        </a:fillRef>
        <a:effectRef idx="2">
          <a:schemeClr val="accent4"/>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en-US" sz="1050" b="1" kern="1200" dirty="0">
              <a:solidFill>
                <a:schemeClr val="tx1"/>
              </a:solidFill>
              <a:latin typeface="Calibri"/>
              <a:ea typeface="+mn-ea"/>
              <a:cs typeface="+mn-cs"/>
            </a:rPr>
            <a:t>Asset</a:t>
          </a:r>
          <a:r>
            <a:rPr lang="en-US" sz="1050" b="1" kern="1200" dirty="0">
              <a:solidFill>
                <a:prstClr val="white"/>
              </a:solidFill>
              <a:latin typeface="Calibri"/>
              <a:ea typeface="+mn-ea"/>
              <a:cs typeface="+mn-cs"/>
            </a:rPr>
            <a:t> </a:t>
          </a:r>
          <a:r>
            <a:rPr lang="en-US" sz="1050" b="1" kern="1200" dirty="0">
              <a:solidFill>
                <a:schemeClr val="tx1"/>
              </a:solidFill>
              <a:latin typeface="Calibri"/>
              <a:ea typeface="+mn-ea"/>
              <a:cs typeface="+mn-cs"/>
            </a:rPr>
            <a:t>Management</a:t>
          </a:r>
        </a:p>
      </dsp:txBody>
      <dsp:txXfrm>
        <a:off x="6853881" y="751280"/>
        <a:ext cx="818820" cy="269524"/>
      </dsp:txXfrm>
    </dsp:sp>
    <dsp:sp modelId="{3FEC3199-2718-794C-B7B1-85E47155598A}">
      <dsp:nvSpPr>
        <dsp:cNvPr id="0" name=""/>
        <dsp:cNvSpPr/>
      </dsp:nvSpPr>
      <dsp:spPr>
        <a:xfrm>
          <a:off x="6845496" y="1073235"/>
          <a:ext cx="835590" cy="286294"/>
        </a:xfrm>
        <a:prstGeom prst="roundRect">
          <a:avLst>
            <a:gd name="adj" fmla="val 10000"/>
          </a:avLst>
        </a:prstGeom>
        <a:solidFill>
          <a:schemeClr val="tx2">
            <a:lumMod val="40000"/>
            <a:lumOff val="60000"/>
          </a:schemeClr>
        </a:solidFill>
        <a:ln w="6350" cap="flat" cmpd="sng" algn="ctr">
          <a:solidFill>
            <a:schemeClr val="accent4">
              <a:lumMod val="75000"/>
            </a:schemeClr>
          </a:solidFill>
          <a:prstDash val="solid"/>
          <a:miter lim="800000"/>
        </a:ln>
        <a:effectLst/>
      </dsp:spPr>
      <dsp:style>
        <a:lnRef idx="1">
          <a:schemeClr val="accent5"/>
        </a:lnRef>
        <a:fillRef idx="3">
          <a:schemeClr val="accent5"/>
        </a:fillRef>
        <a:effectRef idx="2">
          <a:schemeClr val="accent5"/>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n-US" sz="1000" b="1" kern="1200" dirty="0">
              <a:solidFill>
                <a:schemeClr val="tx1"/>
              </a:solidFill>
              <a:latin typeface="Calibri"/>
              <a:ea typeface="+mn-ea"/>
              <a:cs typeface="+mn-cs"/>
            </a:rPr>
            <a:t>Building</a:t>
          </a:r>
          <a:r>
            <a:rPr lang="en-US" sz="1000" b="1" kern="1200" dirty="0">
              <a:solidFill>
                <a:srgbClr val="1F497D"/>
              </a:solidFill>
              <a:latin typeface="Calibri"/>
              <a:ea typeface="+mn-ea"/>
              <a:cs typeface="+mn-cs"/>
            </a:rPr>
            <a:t> </a:t>
          </a:r>
          <a:r>
            <a:rPr lang="en-US" sz="1000" b="1" kern="1200" dirty="0">
              <a:solidFill>
                <a:schemeClr val="tx1"/>
              </a:solidFill>
              <a:latin typeface="Calibri"/>
              <a:ea typeface="+mn-ea"/>
              <a:cs typeface="+mn-cs"/>
            </a:rPr>
            <a:t>Operations</a:t>
          </a:r>
        </a:p>
      </dsp:txBody>
      <dsp:txXfrm>
        <a:off x="6853881" y="1081620"/>
        <a:ext cx="818820" cy="269524"/>
      </dsp:txXfrm>
    </dsp:sp>
    <dsp:sp modelId="{A20B97CC-39F9-394B-8805-D6B14FEE6DF5}">
      <dsp:nvSpPr>
        <dsp:cNvPr id="0" name=""/>
        <dsp:cNvSpPr/>
      </dsp:nvSpPr>
      <dsp:spPr>
        <a:xfrm>
          <a:off x="6845496" y="1403575"/>
          <a:ext cx="835590" cy="286294"/>
        </a:xfrm>
        <a:prstGeom prst="roundRect">
          <a:avLst>
            <a:gd name="adj" fmla="val 10000"/>
          </a:avLst>
        </a:prstGeom>
        <a:solidFill>
          <a:schemeClr val="lt1"/>
        </a:solidFill>
        <a:ln w="12700" cap="flat" cmpd="sng" algn="ctr">
          <a:solidFill>
            <a:schemeClr val="accent4"/>
          </a:solidFill>
          <a:prstDash val="solid"/>
          <a:miter lim="800000"/>
        </a:ln>
        <a:effectLst/>
      </dsp:spPr>
      <dsp:style>
        <a:lnRef idx="2">
          <a:schemeClr val="accent4"/>
        </a:lnRef>
        <a:fillRef idx="1">
          <a:schemeClr val="lt1"/>
        </a:fillRef>
        <a:effectRef idx="0">
          <a:schemeClr val="accent4"/>
        </a:effectRef>
        <a:fontRef idx="minor">
          <a:schemeClr val="dk1"/>
        </a:fontRef>
      </dsp:style>
      <dsp:txBody>
        <a:bodyPr spcFirstLastPara="0" vert="horz" wrap="square" lIns="17780" tIns="13335" rIns="17780" bIns="13335" numCol="1" spcCol="1270" anchor="ctr" anchorCtr="0">
          <a:noAutofit/>
        </a:bodyPr>
        <a:lstStyle/>
        <a:p>
          <a:pPr marL="0" lvl="0" indent="0" algn="ctr" defTabSz="311150">
            <a:lnSpc>
              <a:spcPct val="90000"/>
            </a:lnSpc>
            <a:spcBef>
              <a:spcPct val="0"/>
            </a:spcBef>
            <a:spcAft>
              <a:spcPct val="35000"/>
            </a:spcAft>
            <a:buNone/>
          </a:pPr>
          <a:r>
            <a:rPr lang="en-US" sz="900" b="1" kern="1200" dirty="0">
              <a:solidFill>
                <a:schemeClr val="tx1"/>
              </a:solidFill>
              <a:latin typeface="Calibri"/>
              <a:ea typeface="+mn-ea"/>
              <a:cs typeface="+mn-cs"/>
            </a:rPr>
            <a:t>Space Management</a:t>
          </a:r>
        </a:p>
      </dsp:txBody>
      <dsp:txXfrm>
        <a:off x="6853881" y="1411960"/>
        <a:ext cx="818820" cy="269524"/>
      </dsp:txXfrm>
    </dsp:sp>
    <dsp:sp modelId="{BC5D1FD1-CB45-9542-A702-DFB03ECAE047}">
      <dsp:nvSpPr>
        <dsp:cNvPr id="0" name=""/>
        <dsp:cNvSpPr/>
      </dsp:nvSpPr>
      <dsp:spPr>
        <a:xfrm>
          <a:off x="6845496" y="1733915"/>
          <a:ext cx="835590" cy="286294"/>
        </a:xfrm>
        <a:prstGeom prst="roundRect">
          <a:avLst>
            <a:gd name="adj" fmla="val 10000"/>
          </a:avLst>
        </a:prstGeom>
        <a:solidFill>
          <a:schemeClr val="lt1"/>
        </a:solidFill>
        <a:ln w="12700" cap="flat" cmpd="sng" algn="ctr">
          <a:solidFill>
            <a:schemeClr val="accent4"/>
          </a:solidFill>
          <a:prstDash val="solid"/>
          <a:miter lim="800000"/>
        </a:ln>
        <a:effectLst/>
      </dsp:spPr>
      <dsp:style>
        <a:lnRef idx="2">
          <a:schemeClr val="accent4"/>
        </a:lnRef>
        <a:fillRef idx="1">
          <a:schemeClr val="lt1"/>
        </a:fillRef>
        <a:effectRef idx="0">
          <a:schemeClr val="accent4"/>
        </a:effectRef>
        <a:fontRef idx="minor">
          <a:schemeClr val="dk1"/>
        </a:fontRef>
      </dsp:style>
      <dsp:txBody>
        <a:bodyPr spcFirstLastPara="0" vert="horz" wrap="square" lIns="17780" tIns="13335" rIns="17780" bIns="13335" numCol="1" spcCol="1270" anchor="ctr" anchorCtr="0">
          <a:noAutofit/>
        </a:bodyPr>
        <a:lstStyle/>
        <a:p>
          <a:pPr marL="0" lvl="0" indent="0" algn="ctr" defTabSz="311150">
            <a:lnSpc>
              <a:spcPct val="90000"/>
            </a:lnSpc>
            <a:spcBef>
              <a:spcPct val="0"/>
            </a:spcBef>
            <a:spcAft>
              <a:spcPct val="35000"/>
            </a:spcAft>
            <a:buNone/>
          </a:pPr>
          <a:r>
            <a:rPr lang="en-US" sz="900" b="1" kern="1200" dirty="0">
              <a:solidFill>
                <a:schemeClr val="tx1"/>
              </a:solidFill>
              <a:latin typeface="Calibri"/>
              <a:ea typeface="+mn-ea"/>
              <a:cs typeface="+mn-cs"/>
            </a:rPr>
            <a:t>Environmental &amp; Risk</a:t>
          </a:r>
        </a:p>
      </dsp:txBody>
      <dsp:txXfrm>
        <a:off x="6853881" y="1742300"/>
        <a:ext cx="818820" cy="269524"/>
      </dsp:txXfrm>
    </dsp:sp>
    <dsp:sp modelId="{6F27F464-DEA2-F946-9AB1-ACC70B0A7D49}">
      <dsp:nvSpPr>
        <dsp:cNvPr id="0" name=""/>
        <dsp:cNvSpPr/>
      </dsp:nvSpPr>
      <dsp:spPr>
        <a:xfrm>
          <a:off x="6845496" y="2064256"/>
          <a:ext cx="835590" cy="286294"/>
        </a:xfrm>
        <a:prstGeom prst="roundRect">
          <a:avLst>
            <a:gd name="adj" fmla="val 10000"/>
          </a:avLst>
        </a:prstGeom>
        <a:solidFill>
          <a:schemeClr val="lt1"/>
        </a:solidFill>
        <a:ln w="12700" cap="flat" cmpd="sng" algn="ctr">
          <a:solidFill>
            <a:schemeClr val="accent4"/>
          </a:solidFill>
          <a:prstDash val="solid"/>
          <a:miter lim="800000"/>
        </a:ln>
        <a:effectLst/>
      </dsp:spPr>
      <dsp:style>
        <a:lnRef idx="2">
          <a:schemeClr val="accent4"/>
        </a:lnRef>
        <a:fillRef idx="1">
          <a:schemeClr val="lt1"/>
        </a:fillRef>
        <a:effectRef idx="0">
          <a:schemeClr val="accent4"/>
        </a:effectRef>
        <a:fontRef idx="minor">
          <a:schemeClr val="dk1"/>
        </a:fontRef>
      </dsp:style>
      <dsp:txBody>
        <a:bodyPr spcFirstLastPara="0" vert="horz" wrap="square" lIns="17780" tIns="13335" rIns="17780" bIns="13335" numCol="1" spcCol="1270" anchor="ctr" anchorCtr="0">
          <a:noAutofit/>
        </a:bodyPr>
        <a:lstStyle/>
        <a:p>
          <a:pPr marL="0" lvl="0" indent="0" algn="ctr" defTabSz="311150">
            <a:lnSpc>
              <a:spcPct val="90000"/>
            </a:lnSpc>
            <a:spcBef>
              <a:spcPct val="0"/>
            </a:spcBef>
            <a:spcAft>
              <a:spcPct val="35000"/>
            </a:spcAft>
            <a:buNone/>
          </a:pPr>
          <a:r>
            <a:rPr lang="en-US" sz="800" b="1" kern="1200" dirty="0">
              <a:solidFill>
                <a:schemeClr val="tx1"/>
              </a:solidFill>
              <a:latin typeface="Calibri"/>
              <a:ea typeface="+mn-ea"/>
              <a:cs typeface="+mn-cs"/>
            </a:rPr>
            <a:t>Work Place Management </a:t>
          </a:r>
        </a:p>
      </dsp:txBody>
      <dsp:txXfrm>
        <a:off x="6853881" y="2072641"/>
        <a:ext cx="818820" cy="269524"/>
      </dsp:txXfrm>
    </dsp:sp>
    <dsp:sp modelId="{235D035F-0A34-1448-A08B-25E5BD3576AD}">
      <dsp:nvSpPr>
        <dsp:cNvPr id="0" name=""/>
        <dsp:cNvSpPr/>
      </dsp:nvSpPr>
      <dsp:spPr>
        <a:xfrm>
          <a:off x="7868772" y="0"/>
          <a:ext cx="1044488" cy="2474757"/>
        </a:xfrm>
        <a:prstGeom prst="roundRect">
          <a:avLst>
            <a:gd name="adj" fmla="val 10000"/>
          </a:avLst>
        </a:prstGeom>
        <a:solidFill>
          <a:schemeClr val="bg1"/>
        </a:solidFill>
        <a:ln>
          <a:solidFill>
            <a:schemeClr val="accent1"/>
          </a:solidFill>
          <a:prstDash val="dash"/>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1" kern="1200" dirty="0">
              <a:latin typeface="Arial Rounded MT Bold" panose="020F0704030504030204" pitchFamily="34" charset="77"/>
            </a:rPr>
            <a:t>Portfolio/ Investment Management</a:t>
          </a:r>
          <a:endParaRPr lang="en-US" sz="1200" b="1" kern="1200" dirty="0">
            <a:latin typeface="Arial Rounded MT Bold" panose="020F0704030504030204" pitchFamily="34" charset="77"/>
          </a:endParaRPr>
        </a:p>
      </dsp:txBody>
      <dsp:txXfrm>
        <a:off x="7868772" y="0"/>
        <a:ext cx="1044488" cy="742427"/>
      </dsp:txXfrm>
    </dsp:sp>
    <dsp:sp modelId="{FDA4B58C-55C1-054F-9A48-207E157191A2}">
      <dsp:nvSpPr>
        <dsp:cNvPr id="0" name=""/>
        <dsp:cNvSpPr/>
      </dsp:nvSpPr>
      <dsp:spPr>
        <a:xfrm>
          <a:off x="7973221" y="743152"/>
          <a:ext cx="835590" cy="746173"/>
        </a:xfrm>
        <a:prstGeom prst="roundRect">
          <a:avLst>
            <a:gd name="adj" fmla="val 10000"/>
          </a:avLst>
        </a:prstGeom>
        <a:solidFill>
          <a:srgbClr val="E36C0A"/>
        </a:solidFill>
        <a:ln>
          <a:solidFill>
            <a:srgbClr val="E36C0A"/>
          </a:solidFill>
        </a:ln>
        <a:effectLst>
          <a:outerShdw blurRad="57150" dist="19050" dir="5400000" algn="ctr" rotWithShape="0">
            <a:srgbClr val="000000">
              <a:alpha val="63000"/>
            </a:srgbClr>
          </a:outerShdw>
        </a:effectLst>
      </dsp:spPr>
      <dsp:style>
        <a:lnRef idx="0">
          <a:schemeClr val="accent6"/>
        </a:lnRef>
        <a:fillRef idx="3">
          <a:schemeClr val="accent6"/>
        </a:fillRef>
        <a:effectRef idx="3">
          <a:schemeClr val="accent6"/>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en-US" sz="1100" b="1" kern="1200" dirty="0">
              <a:solidFill>
                <a:schemeClr val="tx1"/>
              </a:solidFill>
              <a:latin typeface="Calibri"/>
              <a:ea typeface="+mn-ea"/>
              <a:cs typeface="+mn-cs"/>
            </a:rPr>
            <a:t>Real</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Estate</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Portfolio</a:t>
          </a:r>
          <a:r>
            <a:rPr lang="en-US" sz="1100" b="1" kern="1200" dirty="0">
              <a:solidFill>
                <a:prstClr val="white"/>
              </a:solidFill>
              <a:latin typeface="Calibri"/>
              <a:ea typeface="+mn-ea"/>
              <a:cs typeface="+mn-cs"/>
            </a:rPr>
            <a:t> </a:t>
          </a:r>
          <a:r>
            <a:rPr lang="en-US" sz="1100" b="1" kern="1200" dirty="0">
              <a:solidFill>
                <a:schemeClr val="tx1"/>
              </a:solidFill>
              <a:latin typeface="Calibri"/>
              <a:ea typeface="+mn-ea"/>
              <a:cs typeface="+mn-cs"/>
            </a:rPr>
            <a:t>Management</a:t>
          </a:r>
        </a:p>
      </dsp:txBody>
      <dsp:txXfrm>
        <a:off x="7995076" y="765007"/>
        <a:ext cx="791880" cy="702463"/>
      </dsp:txXfrm>
    </dsp:sp>
    <dsp:sp modelId="{59CCDBF5-1243-4882-B0EA-2A13AC4C7219}">
      <dsp:nvSpPr>
        <dsp:cNvPr id="0" name=""/>
        <dsp:cNvSpPr/>
      </dsp:nvSpPr>
      <dsp:spPr>
        <a:xfrm>
          <a:off x="7863872" y="1604121"/>
          <a:ext cx="1054289" cy="746173"/>
        </a:xfrm>
        <a:prstGeom prst="roundRect">
          <a:avLst>
            <a:gd name="adj" fmla="val 10000"/>
          </a:avLst>
        </a:prstGeom>
        <a:solidFill>
          <a:srgbClr val="F79646"/>
        </a:solidFill>
        <a:ln w="6350" cap="flat" cmpd="sng" algn="ctr">
          <a:solidFill>
            <a:srgbClr val="F79646"/>
          </a:solidFill>
          <a:prstDash val="solid"/>
          <a:miter lim="800000"/>
        </a:ln>
        <a:effectLst/>
      </dsp:spPr>
      <dsp:style>
        <a:lnRef idx="1">
          <a:schemeClr val="accent4"/>
        </a:lnRef>
        <a:fillRef idx="3">
          <a:schemeClr val="accent4"/>
        </a:fillRef>
        <a:effectRef idx="2">
          <a:schemeClr val="accent4"/>
        </a:effectRef>
        <a:fontRef idx="minor">
          <a:schemeClr val="lt1"/>
        </a:fontRef>
      </dsp:style>
      <dsp:txBody>
        <a:bodyPr spcFirstLastPara="0" vert="horz" wrap="square" lIns="25400" tIns="19050" rIns="25400" bIns="19050" numCol="1" spcCol="1270" anchor="ctr" anchorCtr="0">
          <a:noAutofit/>
        </a:bodyPr>
        <a:lstStyle/>
        <a:p>
          <a:pPr lvl="0" algn="ctr" defTabSz="622300">
            <a:lnSpc>
              <a:spcPct val="90000"/>
            </a:lnSpc>
            <a:spcBef>
              <a:spcPct val="0"/>
            </a:spcBef>
            <a:spcAft>
              <a:spcPct val="35000"/>
            </a:spcAft>
            <a:buNone/>
          </a:pPr>
          <a:r>
            <a:rPr lang="en-US" sz="1400" b="1" kern="1200" dirty="0">
              <a:solidFill>
                <a:schemeClr val="tx1"/>
              </a:solidFill>
              <a:latin typeface="Calibri"/>
              <a:ea typeface="+mn-ea"/>
              <a:cs typeface="+mn-cs"/>
            </a:rPr>
            <a:t>Asset</a:t>
          </a:r>
          <a:r>
            <a:rPr lang="en-US" sz="1400" b="1" kern="1200" dirty="0">
              <a:solidFill>
                <a:prstClr val="white"/>
              </a:solidFill>
              <a:latin typeface="Calibri"/>
              <a:ea typeface="+mn-ea"/>
              <a:cs typeface="+mn-cs"/>
            </a:rPr>
            <a:t> </a:t>
          </a:r>
          <a:r>
            <a:rPr lang="en-US" sz="1400" b="1" kern="1200" dirty="0">
              <a:solidFill>
                <a:schemeClr val="tx1"/>
              </a:solidFill>
              <a:latin typeface="Calibri"/>
              <a:ea typeface="+mn-ea"/>
              <a:cs typeface="+mn-cs"/>
            </a:rPr>
            <a:t>Management</a:t>
          </a:r>
        </a:p>
      </dsp:txBody>
      <dsp:txXfrm>
        <a:off x="7885727" y="1625976"/>
        <a:ext cx="1010579" cy="702463"/>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pList2#1">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9.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0F5AE849-DDF4-485D-8571-22CF424C9009}" type="datetimeFigureOut">
              <a:rPr lang="en-ZA" smtClean="0"/>
              <a:t>2023/05/30</a:t>
            </a:fld>
            <a:endParaRPr lang="en-ZA"/>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DE68DA89-85B8-4528-B579-7FA5E6ECB889}" type="slidenum">
              <a:rPr lang="en-ZA" smtClean="0"/>
              <a:t>‹#›</a:t>
            </a:fld>
            <a:endParaRPr lang="en-ZA"/>
          </a:p>
        </p:txBody>
      </p:sp>
    </p:spTree>
    <p:extLst>
      <p:ext uri="{BB962C8B-B14F-4D97-AF65-F5344CB8AC3E}">
        <p14:creationId xmlns:p14="http://schemas.microsoft.com/office/powerpoint/2010/main" val="3496202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0A70D5A-09DC-4F59-A2F0-7ACAE45D1EF7}" type="datetimeFigureOut">
              <a:rPr lang="en-ZA" smtClean="0"/>
              <a:t>2023/05/30</a:t>
            </a:fld>
            <a:endParaRPr lang="en-ZA"/>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8FB4B8F-F29D-4B27-BBBC-A01F80D013D0}" type="slidenum">
              <a:rPr lang="en-ZA" smtClean="0"/>
              <a:t>‹#›</a:t>
            </a:fld>
            <a:endParaRPr lang="en-ZA"/>
          </a:p>
        </p:txBody>
      </p:sp>
    </p:spTree>
    <p:extLst>
      <p:ext uri="{BB962C8B-B14F-4D97-AF65-F5344CB8AC3E}">
        <p14:creationId xmlns:p14="http://schemas.microsoft.com/office/powerpoint/2010/main" val="3164417114"/>
      </p:ext>
    </p:extLst>
  </p:cSld>
  <p:clrMap bg1="lt1" tx1="dk1" bg2="lt2" tx2="dk2" accent1="accent1" accent2="accent2" accent3="accent3" accent4="accent4" accent5="accent5" accent6="accent6" hlink="hlink" folHlink="folHlink"/>
  <p:notesStyle>
    <a:lvl1pPr marL="0" algn="l" defTabSz="914357" rtl="0" eaLnBrk="1" latinLnBrk="0" hangingPunct="1">
      <a:defRPr sz="1200" kern="1200">
        <a:solidFill>
          <a:schemeClr val="tx1"/>
        </a:solidFill>
        <a:latin typeface="+mn-lt"/>
        <a:ea typeface="+mn-ea"/>
        <a:cs typeface="+mn-cs"/>
      </a:defRPr>
    </a:lvl1pPr>
    <a:lvl2pPr marL="457178" algn="l" defTabSz="914357" rtl="0" eaLnBrk="1" latinLnBrk="0" hangingPunct="1">
      <a:defRPr sz="1200" kern="1200">
        <a:solidFill>
          <a:schemeClr val="tx1"/>
        </a:solidFill>
        <a:latin typeface="+mn-lt"/>
        <a:ea typeface="+mn-ea"/>
        <a:cs typeface="+mn-cs"/>
      </a:defRPr>
    </a:lvl2pPr>
    <a:lvl3pPr marL="914357" algn="l" defTabSz="914357" rtl="0" eaLnBrk="1" latinLnBrk="0" hangingPunct="1">
      <a:defRPr sz="1200" kern="1200">
        <a:solidFill>
          <a:schemeClr val="tx1"/>
        </a:solidFill>
        <a:latin typeface="+mn-lt"/>
        <a:ea typeface="+mn-ea"/>
        <a:cs typeface="+mn-cs"/>
      </a:defRPr>
    </a:lvl3pPr>
    <a:lvl4pPr marL="1371536" algn="l" defTabSz="914357" rtl="0" eaLnBrk="1" latinLnBrk="0" hangingPunct="1">
      <a:defRPr sz="1200" kern="1200">
        <a:solidFill>
          <a:schemeClr val="tx1"/>
        </a:solidFill>
        <a:latin typeface="+mn-lt"/>
        <a:ea typeface="+mn-ea"/>
        <a:cs typeface="+mn-cs"/>
      </a:defRPr>
    </a:lvl4pPr>
    <a:lvl5pPr marL="1828714" algn="l" defTabSz="914357" rtl="0" eaLnBrk="1" latinLnBrk="0" hangingPunct="1">
      <a:defRPr sz="1200" kern="1200">
        <a:solidFill>
          <a:schemeClr val="tx1"/>
        </a:solidFill>
        <a:latin typeface="+mn-lt"/>
        <a:ea typeface="+mn-ea"/>
        <a:cs typeface="+mn-cs"/>
      </a:defRPr>
    </a:lvl5pPr>
    <a:lvl6pPr marL="2285892" algn="l" defTabSz="914357" rtl="0" eaLnBrk="1" latinLnBrk="0" hangingPunct="1">
      <a:defRPr sz="1200" kern="1200">
        <a:solidFill>
          <a:schemeClr val="tx1"/>
        </a:solidFill>
        <a:latin typeface="+mn-lt"/>
        <a:ea typeface="+mn-ea"/>
        <a:cs typeface="+mn-cs"/>
      </a:defRPr>
    </a:lvl6pPr>
    <a:lvl7pPr marL="2743070" algn="l" defTabSz="914357" rtl="0" eaLnBrk="1" latinLnBrk="0" hangingPunct="1">
      <a:defRPr sz="1200" kern="1200">
        <a:solidFill>
          <a:schemeClr val="tx1"/>
        </a:solidFill>
        <a:latin typeface="+mn-lt"/>
        <a:ea typeface="+mn-ea"/>
        <a:cs typeface="+mn-cs"/>
      </a:defRPr>
    </a:lvl7pPr>
    <a:lvl8pPr marL="3200249" algn="l" defTabSz="914357" rtl="0" eaLnBrk="1" latinLnBrk="0" hangingPunct="1">
      <a:defRPr sz="1200" kern="1200">
        <a:solidFill>
          <a:schemeClr val="tx1"/>
        </a:solidFill>
        <a:latin typeface="+mn-lt"/>
        <a:ea typeface="+mn-ea"/>
        <a:cs typeface="+mn-cs"/>
      </a:defRPr>
    </a:lvl8pPr>
    <a:lvl9pPr marL="3657428" algn="l" defTabSz="91435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8FB4B8F-F29D-4B27-BBBC-A01F80D013D0}" type="slidenum">
              <a:rPr lang="en-ZA" smtClean="0"/>
              <a:t>2</a:t>
            </a:fld>
            <a:endParaRPr lang="en-ZA"/>
          </a:p>
        </p:txBody>
      </p:sp>
    </p:spTree>
    <p:extLst>
      <p:ext uri="{BB962C8B-B14F-4D97-AF65-F5344CB8AC3E}">
        <p14:creationId xmlns:p14="http://schemas.microsoft.com/office/powerpoint/2010/main" val="2549889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a:extLst>
              <a:ext uri="{FF2B5EF4-FFF2-40B4-BE49-F238E27FC236}">
                <a16:creationId xmlns:a16="http://schemas.microsoft.com/office/drawing/2014/main" id="{C025D4AA-E525-D42E-E3C4-0D5D9931D5B7}"/>
              </a:ext>
            </a:extLst>
          </p:cNvPr>
          <p:cNvSpPr>
            <a:spLocks noGrp="1" noRot="1" noChangeAspect="1" noTextEdit="1"/>
          </p:cNvSpPr>
          <p:nvPr>
            <p:ph type="sldImg"/>
          </p:nvPr>
        </p:nvSpPr>
        <p:spPr bwMode="auto">
          <a:xfrm>
            <a:off x="422275" y="1241425"/>
            <a:ext cx="5953125" cy="3349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a:extLst>
              <a:ext uri="{FF2B5EF4-FFF2-40B4-BE49-F238E27FC236}">
                <a16:creationId xmlns:a16="http://schemas.microsoft.com/office/drawing/2014/main" id="{6A1B731C-6015-D789-50C1-1D900BE6C6F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72708" name="Slide Number Placeholder 3">
            <a:extLst>
              <a:ext uri="{FF2B5EF4-FFF2-40B4-BE49-F238E27FC236}">
                <a16:creationId xmlns:a16="http://schemas.microsoft.com/office/drawing/2014/main" id="{553C91A0-BE79-2DD9-BAD3-FAEE719A1A6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1D36586A-CA3E-D44B-9A7E-E332DF9ADD02}" type="slidenum">
              <a:rPr lang="en-ZA" altLang="en-US"/>
              <a:pPr/>
              <a:t>7</a:t>
            </a:fld>
            <a:endParaRPr lang="en-ZA" altLang="en-US"/>
          </a:p>
        </p:txBody>
      </p:sp>
    </p:spTree>
    <p:extLst>
      <p:ext uri="{BB962C8B-B14F-4D97-AF65-F5344CB8AC3E}">
        <p14:creationId xmlns:p14="http://schemas.microsoft.com/office/powerpoint/2010/main" val="205347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a:extLst>
              <a:ext uri="{FF2B5EF4-FFF2-40B4-BE49-F238E27FC236}">
                <a16:creationId xmlns:a16="http://schemas.microsoft.com/office/drawing/2014/main" id="{9F028EAA-4C26-01B6-A874-252AEF751A7C}"/>
              </a:ext>
            </a:extLst>
          </p:cNvPr>
          <p:cNvSpPr>
            <a:spLocks noGrp="1" noRot="1" noChangeAspect="1" noTextEdit="1"/>
          </p:cNvSpPr>
          <p:nvPr>
            <p:ph type="sldImg"/>
          </p:nvPr>
        </p:nvSpPr>
        <p:spPr bwMode="auto">
          <a:xfrm>
            <a:off x="422275" y="1241425"/>
            <a:ext cx="5953125" cy="3349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a:extLst>
              <a:ext uri="{FF2B5EF4-FFF2-40B4-BE49-F238E27FC236}">
                <a16:creationId xmlns:a16="http://schemas.microsoft.com/office/drawing/2014/main" id="{EE9D7643-5C48-1C73-B879-920B390D450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73732" name="Slide Number Placeholder 3">
            <a:extLst>
              <a:ext uri="{FF2B5EF4-FFF2-40B4-BE49-F238E27FC236}">
                <a16:creationId xmlns:a16="http://schemas.microsoft.com/office/drawing/2014/main" id="{16FE8B07-122D-5ABC-53C9-A95741864BA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B694E228-77F0-B745-A332-CD5CFBBFDCFE}" type="slidenum">
              <a:rPr lang="en-ZA" altLang="en-US"/>
              <a:pPr/>
              <a:t>8</a:t>
            </a:fld>
            <a:endParaRPr lang="en-ZA" altLang="en-US"/>
          </a:p>
        </p:txBody>
      </p:sp>
    </p:spTree>
    <p:extLst>
      <p:ext uri="{BB962C8B-B14F-4D97-AF65-F5344CB8AC3E}">
        <p14:creationId xmlns:p14="http://schemas.microsoft.com/office/powerpoint/2010/main" val="24881405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a:extLst>
              <a:ext uri="{FF2B5EF4-FFF2-40B4-BE49-F238E27FC236}">
                <a16:creationId xmlns:a16="http://schemas.microsoft.com/office/drawing/2014/main" id="{8621758A-32DE-5BE6-A5C2-468D25FD826B}"/>
              </a:ext>
            </a:extLst>
          </p:cNvPr>
          <p:cNvSpPr>
            <a:spLocks noGrp="1" noRot="1" noChangeAspect="1" noTextEdit="1"/>
          </p:cNvSpPr>
          <p:nvPr>
            <p:ph type="sldImg"/>
          </p:nvPr>
        </p:nvSpPr>
        <p:spPr bwMode="auto">
          <a:xfrm>
            <a:off x="-223838" y="808038"/>
            <a:ext cx="7185026" cy="4041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Notes Placeholder 2">
            <a:extLst>
              <a:ext uri="{FF2B5EF4-FFF2-40B4-BE49-F238E27FC236}">
                <a16:creationId xmlns:a16="http://schemas.microsoft.com/office/drawing/2014/main" id="{0CEB511A-DEA9-8E46-C2B3-074B2C10AD7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ZA" altLang="en-US"/>
          </a:p>
        </p:txBody>
      </p:sp>
    </p:spTree>
    <p:extLst>
      <p:ext uri="{BB962C8B-B14F-4D97-AF65-F5344CB8AC3E}">
        <p14:creationId xmlns:p14="http://schemas.microsoft.com/office/powerpoint/2010/main" val="1067553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a:extLst>
              <a:ext uri="{FF2B5EF4-FFF2-40B4-BE49-F238E27FC236}">
                <a16:creationId xmlns:a16="http://schemas.microsoft.com/office/drawing/2014/main" id="{87A09060-ABD9-0A70-22FF-3F6001C07527}"/>
              </a:ext>
            </a:extLst>
          </p:cNvPr>
          <p:cNvSpPr>
            <a:spLocks noGrp="1" noRot="1" noChangeAspect="1" noTextEdit="1"/>
          </p:cNvSpPr>
          <p:nvPr>
            <p:ph type="sldImg"/>
          </p:nvPr>
        </p:nvSpPr>
        <p:spPr bwMode="auto">
          <a:xfrm>
            <a:off x="-223838" y="808038"/>
            <a:ext cx="7185026" cy="4041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2">
            <a:extLst>
              <a:ext uri="{FF2B5EF4-FFF2-40B4-BE49-F238E27FC236}">
                <a16:creationId xmlns:a16="http://schemas.microsoft.com/office/drawing/2014/main" id="{4DD3BD2A-6EC0-A8AB-791E-DC514F89553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ZA" altLang="en-US"/>
          </a:p>
        </p:txBody>
      </p:sp>
    </p:spTree>
    <p:extLst>
      <p:ext uri="{BB962C8B-B14F-4D97-AF65-F5344CB8AC3E}">
        <p14:creationId xmlns:p14="http://schemas.microsoft.com/office/powerpoint/2010/main" val="1543091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DE2E700-ADA6-D271-A4C0-AE2378AE24E2}"/>
              </a:ext>
            </a:extLst>
          </p:cNvPr>
          <p:cNvSpPr>
            <a:spLocks noGrp="1" noRot="1" noChangeAspect="1" noTextEdit="1"/>
          </p:cNvSpPr>
          <p:nvPr>
            <p:ph type="sldImg"/>
          </p:nvPr>
        </p:nvSpPr>
        <p:spPr bwMode="auto">
          <a:xfrm>
            <a:off x="422275" y="1241425"/>
            <a:ext cx="5953125" cy="3349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92971E8C-5351-CF17-FA66-6FCE535B392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ZA" altLang="en-US"/>
          </a:p>
        </p:txBody>
      </p:sp>
      <p:sp>
        <p:nvSpPr>
          <p:cNvPr id="76804" name="Slide Number Placeholder 3">
            <a:extLst>
              <a:ext uri="{FF2B5EF4-FFF2-40B4-BE49-F238E27FC236}">
                <a16:creationId xmlns:a16="http://schemas.microsoft.com/office/drawing/2014/main" id="{27598777-591B-D7E4-7A36-087679E69EB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F741B326-B927-DE40-BC0C-5B9E9A58A453}" type="slidenum">
              <a:rPr lang="en-ZA" altLang="en-US"/>
              <a:pPr/>
              <a:t>20</a:t>
            </a:fld>
            <a:endParaRPr lang="en-ZA" altLang="en-US"/>
          </a:p>
        </p:txBody>
      </p:sp>
    </p:spTree>
    <p:extLst>
      <p:ext uri="{BB962C8B-B14F-4D97-AF65-F5344CB8AC3E}">
        <p14:creationId xmlns:p14="http://schemas.microsoft.com/office/powerpoint/2010/main" val="34667136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a:extLst>
              <a:ext uri="{FF2B5EF4-FFF2-40B4-BE49-F238E27FC236}">
                <a16:creationId xmlns:a16="http://schemas.microsoft.com/office/drawing/2014/main" id="{C4215817-D41E-F719-4872-D3B2C43E9DD7}"/>
              </a:ext>
            </a:extLst>
          </p:cNvPr>
          <p:cNvSpPr>
            <a:spLocks noGrp="1" noRot="1" noChangeAspect="1" noTextEdit="1"/>
          </p:cNvSpPr>
          <p:nvPr>
            <p:ph type="sldImg"/>
          </p:nvPr>
        </p:nvSpPr>
        <p:spPr bwMode="auto">
          <a:xfrm>
            <a:off x="422275" y="1241425"/>
            <a:ext cx="5953125" cy="3349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a:extLst>
              <a:ext uri="{FF2B5EF4-FFF2-40B4-BE49-F238E27FC236}">
                <a16:creationId xmlns:a16="http://schemas.microsoft.com/office/drawing/2014/main" id="{CC98AE90-BE67-179D-9120-36AF345CC36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ZA" altLang="en-US"/>
              <a:t>Ushering a successful project to its completion—whether</a:t>
            </a:r>
          </a:p>
          <a:p>
            <a:pPr>
              <a:spcBef>
                <a:spcPct val="0"/>
              </a:spcBef>
            </a:pPr>
            <a:r>
              <a:rPr lang="en-ZA" altLang="en-US"/>
              <a:t>it is a renovation, acquisition, construction, or move project</a:t>
            </a:r>
          </a:p>
          <a:p>
            <a:pPr>
              <a:spcBef>
                <a:spcPct val="0"/>
              </a:spcBef>
            </a:pPr>
            <a:r>
              <a:rPr lang="en-ZA" altLang="en-US"/>
              <a:t>—requires a well-organized repository of project data and</a:t>
            </a:r>
          </a:p>
          <a:p>
            <a:pPr>
              <a:spcBef>
                <a:spcPct val="0"/>
              </a:spcBef>
            </a:pPr>
            <a:r>
              <a:rPr lang="en-ZA" altLang="en-US"/>
              <a:t>workflow practices. ARCHIBUS Project Management gives</a:t>
            </a:r>
          </a:p>
          <a:p>
            <a:pPr>
              <a:spcBef>
                <a:spcPct val="0"/>
              </a:spcBef>
            </a:pPr>
            <a:r>
              <a:rPr lang="en-ZA" altLang="en-US"/>
              <a:t>project team members workflow access to a central storehouse</a:t>
            </a:r>
          </a:p>
          <a:p>
            <a:pPr>
              <a:spcBef>
                <a:spcPct val="0"/>
              </a:spcBef>
            </a:pPr>
            <a:r>
              <a:rPr lang="en-ZA" altLang="en-US"/>
              <a:t>of information that keeps all participants aligned with</a:t>
            </a:r>
          </a:p>
          <a:p>
            <a:pPr>
              <a:spcBef>
                <a:spcPct val="0"/>
              </a:spcBef>
            </a:pPr>
            <a:r>
              <a:rPr lang="en-ZA" altLang="en-US"/>
              <a:t>master planning goals. This helps ensure that projects remain</a:t>
            </a:r>
          </a:p>
          <a:p>
            <a:pPr>
              <a:spcBef>
                <a:spcPct val="0"/>
              </a:spcBef>
            </a:pPr>
            <a:r>
              <a:rPr lang="en-ZA" altLang="en-US"/>
              <a:t>on-schedule and within budget, while providing valuable</a:t>
            </a:r>
          </a:p>
          <a:p>
            <a:pPr>
              <a:spcBef>
                <a:spcPct val="0"/>
              </a:spcBef>
            </a:pPr>
            <a:r>
              <a:rPr lang="en-ZA" altLang="en-US"/>
              <a:t>benchmarking data for future projects</a:t>
            </a:r>
          </a:p>
          <a:p>
            <a:pPr>
              <a:spcBef>
                <a:spcPct val="0"/>
              </a:spcBef>
            </a:pPr>
            <a:r>
              <a:rPr lang="en-ZA" altLang="en-US">
                <a:latin typeface="Helvetica" pitchFamily="2" charset="0"/>
              </a:rPr>
              <a:t>The application includes many features for streamlining</a:t>
            </a:r>
          </a:p>
          <a:p>
            <a:pPr>
              <a:spcBef>
                <a:spcPct val="0"/>
              </a:spcBef>
            </a:pPr>
            <a:r>
              <a:rPr lang="en-ZA" altLang="en-US">
                <a:latin typeface="Helvetica" pitchFamily="2" charset="0"/>
              </a:rPr>
              <a:t>project management and reporting, from the planning</a:t>
            </a:r>
          </a:p>
          <a:p>
            <a:pPr>
              <a:spcBef>
                <a:spcPct val="0"/>
              </a:spcBef>
            </a:pPr>
            <a:r>
              <a:rPr lang="en-ZA" altLang="en-US">
                <a:latin typeface="Helvetica" pitchFamily="2" charset="0"/>
              </a:rPr>
              <a:t>to the execution phases. Project templates enforce a</a:t>
            </a:r>
          </a:p>
          <a:p>
            <a:pPr>
              <a:spcBef>
                <a:spcPct val="0"/>
              </a:spcBef>
            </a:pPr>
            <a:r>
              <a:rPr lang="en-ZA" altLang="en-US">
                <a:latin typeface="Helvetica" pitchFamily="2" charset="0"/>
              </a:rPr>
              <a:t>standardized project methodology among all project</a:t>
            </a:r>
          </a:p>
          <a:p>
            <a:pPr>
              <a:spcBef>
                <a:spcPct val="0"/>
              </a:spcBef>
            </a:pPr>
            <a:r>
              <a:rPr lang="en-ZA" altLang="en-US">
                <a:latin typeface="Helvetica" pitchFamily="2" charset="0"/>
              </a:rPr>
              <a:t>members, including service providers or contractors.</a:t>
            </a:r>
          </a:p>
          <a:p>
            <a:pPr>
              <a:spcBef>
                <a:spcPct val="0"/>
              </a:spcBef>
            </a:pPr>
            <a:r>
              <a:rPr lang="en-ZA" altLang="en-US">
                <a:latin typeface="Helvetica" pitchFamily="2" charset="0"/>
              </a:rPr>
              <a:t>Integrated workflow capabilities issue relevant,</a:t>
            </a:r>
          </a:p>
          <a:p>
            <a:pPr>
              <a:spcBef>
                <a:spcPct val="0"/>
              </a:spcBef>
            </a:pPr>
            <a:r>
              <a:rPr lang="en-ZA" altLang="en-US">
                <a:latin typeface="Helvetica" pitchFamily="2" charset="0"/>
              </a:rPr>
              <a:t>proactive notifications to project team members.</a:t>
            </a:r>
          </a:p>
          <a:p>
            <a:pPr>
              <a:spcBef>
                <a:spcPct val="0"/>
              </a:spcBef>
            </a:pPr>
            <a:r>
              <a:rPr lang="en-ZA" altLang="en-US" sz="800">
                <a:latin typeface="Helvetica" pitchFamily="2" charset="0"/>
              </a:rPr>
              <a:t>ARCHIBUS Project Management can greatly reduce</a:t>
            </a:r>
          </a:p>
          <a:p>
            <a:pPr>
              <a:spcBef>
                <a:spcPct val="0"/>
              </a:spcBef>
            </a:pPr>
            <a:r>
              <a:rPr lang="en-ZA" altLang="en-US" sz="800">
                <a:latin typeface="Helvetica" pitchFamily="2" charset="0"/>
              </a:rPr>
              <a:t>administrative burdens by leveraging pre-existing data.</a:t>
            </a:r>
          </a:p>
          <a:p>
            <a:pPr>
              <a:spcBef>
                <a:spcPct val="0"/>
              </a:spcBef>
            </a:pPr>
            <a:r>
              <a:rPr lang="en-ZA" altLang="en-US" sz="800">
                <a:latin typeface="Helvetica" pitchFamily="2" charset="0"/>
              </a:rPr>
              <a:t>The application’s ability to integrate multiple functions</a:t>
            </a:r>
          </a:p>
          <a:p>
            <a:pPr>
              <a:spcBef>
                <a:spcPct val="0"/>
              </a:spcBef>
            </a:pPr>
            <a:r>
              <a:rPr lang="en-ZA" altLang="en-US" sz="800">
                <a:latin typeface="Helvetica" pitchFamily="2" charset="0"/>
              </a:rPr>
              <a:t>and systems reduces duplicate entry and promotes</a:t>
            </a:r>
          </a:p>
          <a:p>
            <a:pPr>
              <a:spcBef>
                <a:spcPct val="0"/>
              </a:spcBef>
            </a:pPr>
            <a:r>
              <a:rPr lang="en-ZA" altLang="en-US" sz="800">
                <a:latin typeface="Helvetica" pitchFamily="2" charset="0"/>
              </a:rPr>
              <a:t>communication among different departments and sites.</a:t>
            </a:r>
          </a:p>
          <a:p>
            <a:pPr>
              <a:spcBef>
                <a:spcPct val="0"/>
              </a:spcBef>
            </a:pPr>
            <a:r>
              <a:rPr lang="en-ZA" altLang="en-US" sz="800">
                <a:latin typeface="Helvetica" pitchFamily="2" charset="0"/>
              </a:rPr>
              <a:t>Granting all team members enterprise-wide access to</a:t>
            </a:r>
          </a:p>
          <a:p>
            <a:pPr>
              <a:spcBef>
                <a:spcPct val="0"/>
              </a:spcBef>
            </a:pPr>
            <a:r>
              <a:rPr lang="en-ZA" altLang="en-US" sz="800">
                <a:latin typeface="Helvetica" pitchFamily="2" charset="0"/>
              </a:rPr>
              <a:t>project data simplifies communication by reducing</a:t>
            </a:r>
          </a:p>
          <a:p>
            <a:pPr>
              <a:spcBef>
                <a:spcPct val="0"/>
              </a:spcBef>
            </a:pPr>
            <a:r>
              <a:rPr lang="en-ZA" altLang="en-US" sz="800">
                <a:latin typeface="Helvetica" pitchFamily="2" charset="0"/>
              </a:rPr>
              <a:t>phone calls, paper invoices, and manual processes.</a:t>
            </a:r>
          </a:p>
          <a:p>
            <a:pPr>
              <a:spcBef>
                <a:spcPct val="0"/>
              </a:spcBef>
            </a:pPr>
            <a:endParaRPr lang="en-ZA" altLang="en-US">
              <a:latin typeface="Helvetica" pitchFamily="2" charset="0"/>
            </a:endParaRPr>
          </a:p>
          <a:p>
            <a:pPr>
              <a:spcBef>
                <a:spcPct val="0"/>
              </a:spcBef>
            </a:pPr>
            <a:endParaRPr lang="en-US" altLang="en-US"/>
          </a:p>
        </p:txBody>
      </p:sp>
      <p:sp>
        <p:nvSpPr>
          <p:cNvPr id="77828" name="Slide Number Placeholder 3">
            <a:extLst>
              <a:ext uri="{FF2B5EF4-FFF2-40B4-BE49-F238E27FC236}">
                <a16:creationId xmlns:a16="http://schemas.microsoft.com/office/drawing/2014/main" id="{B61C4ECC-D365-C638-6ACE-1E2CBF6ED6E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973EB160-08E0-CF44-9321-30A9865341BB}" type="slidenum">
              <a:rPr lang="en-US" altLang="en-US"/>
              <a:pPr/>
              <a:t>29</a:t>
            </a:fld>
            <a:endParaRPr lang="en-US" altLang="en-US"/>
          </a:p>
        </p:txBody>
      </p:sp>
    </p:spTree>
    <p:extLst>
      <p:ext uri="{BB962C8B-B14F-4D97-AF65-F5344CB8AC3E}">
        <p14:creationId xmlns:p14="http://schemas.microsoft.com/office/powerpoint/2010/main" val="17902417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2BD1056C-91EA-4FD9-ACC8-D4051FEF9DD3}" type="slidenum">
              <a:rPr lang="en-ZA" smtClean="0">
                <a:solidFill>
                  <a:prstClr val="black"/>
                </a:solidFill>
              </a:rPr>
              <a:pPr/>
              <a:t>37</a:t>
            </a:fld>
            <a:endParaRPr lang="en-ZA" dirty="0">
              <a:solidFill>
                <a:prstClr val="black"/>
              </a:solidFill>
            </a:endParaRPr>
          </a:p>
        </p:txBody>
      </p:sp>
    </p:spTree>
    <p:extLst>
      <p:ext uri="{BB962C8B-B14F-4D97-AF65-F5344CB8AC3E}">
        <p14:creationId xmlns:p14="http://schemas.microsoft.com/office/powerpoint/2010/main" val="2302681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935A417E-909F-F57E-99FC-BB72B9472FE4}"/>
              </a:ext>
            </a:extLst>
          </p:cNvPr>
          <p:cNvSpPr>
            <a:spLocks noGrp="1" noRot="1" noChangeAspect="1" noTextEdit="1"/>
          </p:cNvSpPr>
          <p:nvPr>
            <p:ph type="sldImg"/>
          </p:nvPr>
        </p:nvSpPr>
        <p:spPr bwMode="auto">
          <a:xfrm>
            <a:off x="422275" y="1241425"/>
            <a:ext cx="5953125" cy="3349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a:extLst>
              <a:ext uri="{FF2B5EF4-FFF2-40B4-BE49-F238E27FC236}">
                <a16:creationId xmlns:a16="http://schemas.microsoft.com/office/drawing/2014/main" id="{1BE14653-2354-515F-A579-D9F0214B6F7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0900" name="Slide Number Placeholder 3">
            <a:extLst>
              <a:ext uri="{FF2B5EF4-FFF2-40B4-BE49-F238E27FC236}">
                <a16:creationId xmlns:a16="http://schemas.microsoft.com/office/drawing/2014/main" id="{534B4A9E-311A-3B26-BCBB-57C670302F2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376BF2A6-DB8E-AE4C-9BCA-73A6AAE02B22}" type="slidenum">
              <a:rPr lang="en-ZA" altLang="en-US"/>
              <a:pPr/>
              <a:t>51</a:t>
            </a:fld>
            <a:endParaRPr lang="en-ZA" altLang="en-US"/>
          </a:p>
        </p:txBody>
      </p:sp>
    </p:spTree>
    <p:extLst>
      <p:ext uri="{BB962C8B-B14F-4D97-AF65-F5344CB8AC3E}">
        <p14:creationId xmlns:p14="http://schemas.microsoft.com/office/powerpoint/2010/main" val="21992149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2.xml"/><Relationship Id="rId5" Type="http://schemas.openxmlformats.org/officeDocument/2006/relationships/tags" Target="../tags/tag5.xml"/><Relationship Id="rId4"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slideMaster" Target="../slideMasters/slideMaster3.xml"/><Relationship Id="rId5" Type="http://schemas.openxmlformats.org/officeDocument/2006/relationships/tags" Target="../tags/tag9.xml"/><Relationship Id="rId4"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65491" y="533402"/>
            <a:ext cx="5030510" cy="2514601"/>
          </a:xfrm>
        </p:spPr>
        <p:txBody>
          <a:bodyPr>
            <a:normAutofit/>
          </a:bodyPr>
          <a:lstStyle>
            <a:lvl1pPr>
              <a:defRPr sz="4043"/>
            </a:lvl1pPr>
          </a:lstStyle>
          <a:p>
            <a:r>
              <a:rPr lang="en-US"/>
              <a:t>Click to edit Master title style</a:t>
            </a:r>
            <a:endParaRPr/>
          </a:p>
        </p:txBody>
      </p:sp>
      <p:sp>
        <p:nvSpPr>
          <p:cNvPr id="3" name="Subtitle 2"/>
          <p:cNvSpPr>
            <a:spLocks noGrp="1"/>
          </p:cNvSpPr>
          <p:nvPr>
            <p:ph type="subTitle" idx="1"/>
          </p:nvPr>
        </p:nvSpPr>
        <p:spPr>
          <a:xfrm>
            <a:off x="1065495" y="3403601"/>
            <a:ext cx="5030511" cy="1397000"/>
          </a:xfrm>
        </p:spPr>
        <p:txBody>
          <a:bodyPr>
            <a:normAutofit/>
          </a:bodyPr>
          <a:lstStyle>
            <a:lvl1pPr marL="0" indent="0" algn="l">
              <a:spcBef>
                <a:spcPts val="449"/>
              </a:spcBef>
              <a:buNone/>
              <a:defRPr sz="1797">
                <a:solidFill>
                  <a:schemeClr val="tx1">
                    <a:lumMod val="65000"/>
                    <a:lumOff val="35000"/>
                  </a:schemeClr>
                </a:solidFill>
              </a:defRPr>
            </a:lvl1pPr>
            <a:lvl2pPr marL="342341" indent="0" algn="ctr">
              <a:buNone/>
              <a:defRPr>
                <a:solidFill>
                  <a:schemeClr val="tx1">
                    <a:tint val="75000"/>
                  </a:schemeClr>
                </a:solidFill>
              </a:defRPr>
            </a:lvl2pPr>
            <a:lvl3pPr marL="684681" indent="0" algn="ctr">
              <a:buNone/>
              <a:defRPr>
                <a:solidFill>
                  <a:schemeClr val="tx1">
                    <a:tint val="75000"/>
                  </a:schemeClr>
                </a:solidFill>
              </a:defRPr>
            </a:lvl3pPr>
            <a:lvl4pPr marL="1027022" indent="0" algn="ctr">
              <a:buNone/>
              <a:defRPr>
                <a:solidFill>
                  <a:schemeClr val="tx1">
                    <a:tint val="75000"/>
                  </a:schemeClr>
                </a:solidFill>
              </a:defRPr>
            </a:lvl4pPr>
            <a:lvl5pPr marL="1369363" indent="0" algn="ctr">
              <a:buNone/>
              <a:defRPr>
                <a:solidFill>
                  <a:schemeClr val="tx1">
                    <a:tint val="75000"/>
                  </a:schemeClr>
                </a:solidFill>
              </a:defRPr>
            </a:lvl5pPr>
            <a:lvl6pPr marL="1711703" indent="0" algn="ctr">
              <a:buNone/>
              <a:defRPr>
                <a:solidFill>
                  <a:schemeClr val="tx1">
                    <a:tint val="75000"/>
                  </a:schemeClr>
                </a:solidFill>
              </a:defRPr>
            </a:lvl6pPr>
            <a:lvl7pPr marL="2054044" indent="0" algn="ctr">
              <a:buNone/>
              <a:defRPr>
                <a:solidFill>
                  <a:schemeClr val="tx1">
                    <a:tint val="75000"/>
                  </a:schemeClr>
                </a:solidFill>
              </a:defRPr>
            </a:lvl7pPr>
            <a:lvl8pPr marL="2396384" indent="0" algn="ctr">
              <a:buNone/>
              <a:defRPr>
                <a:solidFill>
                  <a:schemeClr val="tx1">
                    <a:tint val="75000"/>
                  </a:schemeClr>
                </a:solidFill>
              </a:defRPr>
            </a:lvl8pPr>
            <a:lvl9pPr marL="2738725"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80BB4BDF-0694-A649-B832-22B191BF45FB}"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5" name="Footer Placeholder 4"/>
          <p:cNvSpPr>
            <a:spLocks noGrp="1"/>
          </p:cNvSpPr>
          <p:nvPr>
            <p:ph type="ftr" sz="quarter" idx="11"/>
          </p:nvPr>
        </p:nvSpPr>
        <p:spPr/>
        <p:txBody>
          <a:bodyPr/>
          <a:lstStyle/>
          <a:p>
            <a:endParaRPr dirty="0">
              <a:solidFill>
                <a:prstClr val="black">
                  <a:lumMod val="65000"/>
                  <a:lumOff val="35000"/>
                </a:prstClr>
              </a:solidFill>
            </a:endParaRPr>
          </a:p>
        </p:txBody>
      </p:sp>
      <p:sp>
        <p:nvSpPr>
          <p:cNvPr id="6" name="Slide Number Placeholder 5"/>
          <p:cNvSpPr>
            <a:spLocks noGrp="1"/>
          </p:cNvSpPr>
          <p:nvPr>
            <p:ph type="sldNum" sz="quarter" idx="12"/>
          </p:nvPr>
        </p:nvSpPr>
        <p:spPr/>
        <p:txBody>
          <a:body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113662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95DFE36A-0CDA-9749-8A3F-78336ABBD8A0}"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5" name="Footer Placeholder 4"/>
          <p:cNvSpPr>
            <a:spLocks noGrp="1"/>
          </p:cNvSpPr>
          <p:nvPr>
            <p:ph type="ftr" sz="quarter" idx="11"/>
          </p:nvPr>
        </p:nvSpPr>
        <p:spPr/>
        <p:txBody>
          <a:bodyPr/>
          <a:lstStyle/>
          <a:p>
            <a:endParaRPr dirty="0">
              <a:solidFill>
                <a:prstClr val="black">
                  <a:lumMod val="65000"/>
                  <a:lumOff val="35000"/>
                </a:prstClr>
              </a:solidFill>
            </a:endParaRPr>
          </a:p>
        </p:txBody>
      </p:sp>
      <p:sp>
        <p:nvSpPr>
          <p:cNvPr id="6" name="Slide Number Placeholder 5"/>
          <p:cNvSpPr>
            <a:spLocks noGrp="1"/>
          </p:cNvSpPr>
          <p:nvPr>
            <p:ph type="sldNum" sz="quarter" idx="12"/>
          </p:nvPr>
        </p:nvSpPr>
        <p:spPr/>
        <p:txBody>
          <a:body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21123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63699" y="533400"/>
            <a:ext cx="2362816" cy="54864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1065496" y="533400"/>
            <a:ext cx="7469544"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AEBF00D-9093-D242-9C0E-FC70C04B2279}"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5" name="Footer Placeholder 4"/>
          <p:cNvSpPr>
            <a:spLocks noGrp="1"/>
          </p:cNvSpPr>
          <p:nvPr>
            <p:ph type="ftr" sz="quarter" idx="11"/>
          </p:nvPr>
        </p:nvSpPr>
        <p:spPr/>
        <p:txBody>
          <a:bodyPr/>
          <a:lstStyle/>
          <a:p>
            <a:endParaRPr dirty="0">
              <a:solidFill>
                <a:prstClr val="black">
                  <a:lumMod val="65000"/>
                  <a:lumOff val="35000"/>
                </a:prstClr>
              </a:solidFill>
            </a:endParaRPr>
          </a:p>
        </p:txBody>
      </p:sp>
      <p:sp>
        <p:nvSpPr>
          <p:cNvPr id="6" name="Slide Number Placeholder 5"/>
          <p:cNvSpPr>
            <a:spLocks noGrp="1"/>
          </p:cNvSpPr>
          <p:nvPr>
            <p:ph type="sldNum" sz="quarter" idx="12"/>
          </p:nvPr>
        </p:nvSpPr>
        <p:spPr/>
        <p:txBody>
          <a:body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1272121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05189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0933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8643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86640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019F40EE-1AB5-B549-83D9-C1D5E91F827A}"/>
              </a:ext>
            </a:extLst>
          </p:cNvPr>
          <p:cNvGraphicFramePr>
            <a:graphicFrameLocks/>
          </p:cNvGraphicFramePr>
          <p:nvPr>
            <p:custDataLst>
              <p:tags r:id="rId2"/>
            </p:custDataLst>
          </p:nvPr>
        </p:nvGraphicFramePr>
        <p:xfrm>
          <a:off x="0" y="0"/>
          <a:ext cx="211138" cy="158750"/>
        </p:xfrm>
        <a:graphic>
          <a:graphicData uri="http://schemas.openxmlformats.org/presentationml/2006/ole">
            <mc:AlternateContent xmlns:mc="http://schemas.openxmlformats.org/markup-compatibility/2006">
              <mc:Choice xmlns:v="urn:schemas-microsoft-com:vml" Requires="v">
                <p:oleObj spid="_x0000_s2061"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Isosceles Triangle 3">
            <a:extLst>
              <a:ext uri="{FF2B5EF4-FFF2-40B4-BE49-F238E27FC236}">
                <a16:creationId xmlns:a16="http://schemas.microsoft.com/office/drawing/2014/main" id="{7527441F-F6DE-5BCC-30B5-160596A017F2}"/>
              </a:ext>
            </a:extLst>
          </p:cNvPr>
          <p:cNvSpPr>
            <a:spLocks noChangeAspect="1"/>
          </p:cNvSpPr>
          <p:nvPr userDrawn="1"/>
        </p:nvSpPr>
        <p:spPr>
          <a:xfrm rot="16200000">
            <a:off x="10467182" y="365919"/>
            <a:ext cx="182562" cy="209550"/>
          </a:xfrm>
          <a:prstGeom prst="triangle">
            <a:avLst/>
          </a:prstGeom>
          <a:solidFill>
            <a:srgbClr val="FFFF00"/>
          </a:solidFill>
          <a:ln w="6350" cap="flat" cmpd="sng" algn="ctr">
            <a:solidFill>
              <a:srgbClr val="FFFFFF"/>
            </a:solidFill>
            <a:prstDash val="solid"/>
          </a:ln>
          <a:effectLst/>
        </p:spPr>
        <p:txBody>
          <a:bodyPr/>
          <a:lstStyle/>
          <a:p>
            <a:pPr algn="ctr" defTabSz="363929" fontAlgn="auto">
              <a:spcBef>
                <a:spcPts val="0"/>
              </a:spcBef>
              <a:spcAft>
                <a:spcPts val="0"/>
              </a:spcAft>
              <a:defRPr/>
            </a:pPr>
            <a:endParaRPr lang="en-US" sz="477" kern="0" dirty="0">
              <a:solidFill>
                <a:srgbClr val="000000"/>
              </a:solidFill>
              <a:latin typeface="Arial"/>
              <a:cs typeface="+mn-cs"/>
            </a:endParaRPr>
          </a:p>
        </p:txBody>
      </p:sp>
      <p:sp>
        <p:nvSpPr>
          <p:cNvPr id="2" name="Title 1"/>
          <p:cNvSpPr>
            <a:spLocks noGrp="1"/>
          </p:cNvSpPr>
          <p:nvPr>
            <p:ph type="title"/>
          </p:nvPr>
        </p:nvSpPr>
        <p:spPr>
          <a:xfrm>
            <a:off x="148174" y="221746"/>
            <a:ext cx="10519827" cy="515226"/>
          </a:xfrm>
          <a:prstGeom prst="rect">
            <a:avLst/>
          </a:prstGeom>
        </p:spPr>
        <p:txBody>
          <a:bodyPr anchor="ctr" anchorCtr="0"/>
          <a:lstStyle>
            <a:lvl1pPr>
              <a:defRPr sz="956">
                <a:solidFill>
                  <a:schemeClr val="bg2">
                    <a:lumMod val="75000"/>
                  </a:schemeClr>
                </a:solidFill>
                <a:latin typeface="Calibri" pitchFamily="34" charset="0"/>
                <a:cs typeface="Calibri" pitchFamily="34" charset="0"/>
              </a:defRPr>
            </a:lvl1pPr>
          </a:lstStyle>
          <a:p>
            <a:r>
              <a:rPr lang="en-US" dirty="0"/>
              <a:t>Click to edit Master title style</a:t>
            </a:r>
          </a:p>
        </p:txBody>
      </p:sp>
      <p:sp>
        <p:nvSpPr>
          <p:cNvPr id="3" name="Content Placeholder 2"/>
          <p:cNvSpPr>
            <a:spLocks noGrp="1"/>
          </p:cNvSpPr>
          <p:nvPr>
            <p:ph idx="1"/>
          </p:nvPr>
        </p:nvSpPr>
        <p:spPr>
          <a:xfrm>
            <a:off x="152401" y="1829544"/>
            <a:ext cx="11531600" cy="4407768"/>
          </a:xfrm>
          <a:prstGeom prst="rect">
            <a:avLst/>
          </a:prstGeom>
        </p:spPr>
        <p:txBody>
          <a:bodyPr/>
          <a:lstStyle>
            <a:lvl1pPr marL="85770" indent="-85770">
              <a:spcBef>
                <a:spcPts val="0"/>
              </a:spcBef>
              <a:spcAft>
                <a:spcPts val="0"/>
              </a:spcAft>
              <a:buClr>
                <a:srgbClr val="FFC000"/>
              </a:buClr>
              <a:buSzPct val="120000"/>
              <a:buFont typeface="Arial" pitchFamily="34" charset="0"/>
              <a:buChar char="•"/>
              <a:defRPr lang="en-US" sz="956" b="0" dirty="0" smtClean="0">
                <a:solidFill>
                  <a:schemeClr val="tx1"/>
                </a:solidFill>
                <a:latin typeface="Calibri" pitchFamily="34" charset="0"/>
                <a:ea typeface="+mn-ea"/>
                <a:cs typeface="Calibri" pitchFamily="34" charset="0"/>
              </a:defRPr>
            </a:lvl1pPr>
            <a:lvl2pPr marL="203762" indent="-97616">
              <a:spcBef>
                <a:spcPts val="0"/>
              </a:spcBef>
              <a:spcAft>
                <a:spcPts val="0"/>
              </a:spcAft>
              <a:buClr>
                <a:srgbClr val="002060"/>
              </a:buClr>
              <a:buFont typeface="Arial" pitchFamily="34" charset="0"/>
              <a:buChar char="−"/>
              <a:tabLst>
                <a:tab pos="203762" algn="l"/>
              </a:tabLst>
              <a:defRPr sz="717" b="0">
                <a:solidFill>
                  <a:schemeClr val="tx1"/>
                </a:solidFill>
                <a:latin typeface="Calibri" pitchFamily="34" charset="0"/>
                <a:cs typeface="Calibri" pitchFamily="34" charset="0"/>
              </a:defRPr>
            </a:lvl2pPr>
            <a:lvl3pPr marL="266787" indent="-60655">
              <a:buFont typeface="Arial" pitchFamily="34" charset="0"/>
              <a:buChar char="•"/>
              <a:defRPr lang="en-US" sz="418" b="1" dirty="0" smtClean="0">
                <a:solidFill>
                  <a:srgbClr val="003300"/>
                </a:solidFill>
                <a:latin typeface="+mn-lt"/>
              </a:defRPr>
            </a:lvl3pPr>
          </a:lstStyle>
          <a:p>
            <a:pPr lvl="0"/>
            <a:r>
              <a:rPr lang="en-US" dirty="0"/>
              <a:t>Click to edit Master text styles</a:t>
            </a:r>
          </a:p>
          <a:p>
            <a:pPr lvl="1"/>
            <a:r>
              <a:rPr lang="en-US" dirty="0"/>
              <a:t>Third level</a:t>
            </a:r>
          </a:p>
        </p:txBody>
      </p:sp>
      <p:sp>
        <p:nvSpPr>
          <p:cNvPr id="7" name="Text Placeholder 6"/>
          <p:cNvSpPr>
            <a:spLocks noGrp="1"/>
          </p:cNvSpPr>
          <p:nvPr>
            <p:ph type="body" sz="quarter" idx="10"/>
          </p:nvPr>
        </p:nvSpPr>
        <p:spPr>
          <a:xfrm>
            <a:off x="245981" y="1017774"/>
            <a:ext cx="11438021" cy="163699"/>
          </a:xfrm>
          <a:prstGeom prst="rect">
            <a:avLst/>
          </a:prstGeom>
        </p:spPr>
        <p:txBody>
          <a:bodyPr/>
          <a:lstStyle>
            <a:lvl1pPr marL="0" indent="0">
              <a:buNone/>
              <a:defRPr sz="558">
                <a:solidFill>
                  <a:schemeClr val="tx1"/>
                </a:solidFill>
                <a:latin typeface="Calibri" pitchFamily="34" charset="0"/>
                <a:cs typeface="Calibri" pitchFamily="34" charset="0"/>
              </a:defRPr>
            </a:lvl1pPr>
            <a:lvl2pPr>
              <a:defRPr sz="358"/>
            </a:lvl2pPr>
            <a:lvl3pPr>
              <a:defRPr sz="328"/>
            </a:lvl3pPr>
            <a:lvl4pPr>
              <a:defRPr sz="418"/>
            </a:lvl4pPr>
            <a:lvl5pPr>
              <a:defRPr sz="418"/>
            </a:lvl5pPr>
          </a:lstStyle>
          <a:p>
            <a:pPr lvl="0"/>
            <a:r>
              <a:rPr lang="en-US" dirty="0"/>
              <a:t>Click to edit Master text styles</a:t>
            </a:r>
          </a:p>
        </p:txBody>
      </p:sp>
    </p:spTree>
    <p:extLst>
      <p:ext uri="{BB962C8B-B14F-4D97-AF65-F5344CB8AC3E}">
        <p14:creationId xmlns:p14="http://schemas.microsoft.com/office/powerpoint/2010/main" val="4224850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9922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37821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2" y="0"/>
          <a:ext cx="211667" cy="158750"/>
        </p:xfrm>
        <a:graphic>
          <a:graphicData uri="http://schemas.openxmlformats.org/presentationml/2006/ole">
            <mc:AlternateContent xmlns:mc="http://schemas.openxmlformats.org/markup-compatibility/2006">
              <mc:Choice xmlns:v="urn:schemas-microsoft-com:vml" Requires="v">
                <p:oleObj spid="_x0000_s3085" r:id="rId7" imgW="0" imgH="0" progId="">
                  <p:embed/>
                </p:oleObj>
              </mc:Choice>
              <mc:Fallback>
                <p:oleObj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148174" y="221746"/>
            <a:ext cx="10519827" cy="515226"/>
          </a:xfrm>
          <a:prstGeom prst="rect">
            <a:avLst/>
          </a:prstGeom>
        </p:spPr>
        <p:txBody>
          <a:bodyPr anchor="ctr" anchorCtr="0"/>
          <a:lstStyle>
            <a:lvl1pPr>
              <a:defRPr sz="956">
                <a:solidFill>
                  <a:schemeClr val="bg2">
                    <a:lumMod val="75000"/>
                  </a:schemeClr>
                </a:solidFill>
                <a:latin typeface="Calibri" pitchFamily="34" charset="0"/>
                <a:cs typeface="Calibri" pitchFamily="34" charset="0"/>
              </a:defRPr>
            </a:lvl1pPr>
          </a:lstStyle>
          <a:p>
            <a:r>
              <a:rPr lang="en-US" dirty="0"/>
              <a:t>Click to edit Master title style</a:t>
            </a:r>
          </a:p>
        </p:txBody>
      </p:sp>
      <p:sp>
        <p:nvSpPr>
          <p:cNvPr id="3" name="Content Placeholder 2"/>
          <p:cNvSpPr>
            <a:spLocks noGrp="1"/>
          </p:cNvSpPr>
          <p:nvPr>
            <p:ph idx="1"/>
            <p:custDataLst>
              <p:tags r:id="rId4"/>
            </p:custDataLst>
          </p:nvPr>
        </p:nvSpPr>
        <p:spPr>
          <a:xfrm>
            <a:off x="152401" y="1829544"/>
            <a:ext cx="11531600" cy="4407768"/>
          </a:xfrm>
          <a:prstGeom prst="rect">
            <a:avLst/>
          </a:prstGeom>
        </p:spPr>
        <p:txBody>
          <a:bodyPr/>
          <a:lstStyle>
            <a:lvl1pPr marL="85770" indent="-85770">
              <a:spcBef>
                <a:spcPts val="0"/>
              </a:spcBef>
              <a:spcAft>
                <a:spcPts val="0"/>
              </a:spcAft>
              <a:buClr>
                <a:srgbClr val="FFC000"/>
              </a:buClr>
              <a:buSzPct val="120000"/>
              <a:buFont typeface="Arial" pitchFamily="34" charset="0"/>
              <a:buChar char="•"/>
              <a:defRPr lang="en-US" sz="956" b="0" dirty="0" smtClean="0">
                <a:solidFill>
                  <a:schemeClr val="tx1"/>
                </a:solidFill>
                <a:latin typeface="Calibri" pitchFamily="34" charset="0"/>
                <a:ea typeface="+mn-ea"/>
                <a:cs typeface="Calibri" pitchFamily="34" charset="0"/>
              </a:defRPr>
            </a:lvl1pPr>
            <a:lvl2pPr marL="203762" indent="-97616">
              <a:spcBef>
                <a:spcPts val="0"/>
              </a:spcBef>
              <a:spcAft>
                <a:spcPts val="0"/>
              </a:spcAft>
              <a:buClr>
                <a:srgbClr val="002060"/>
              </a:buClr>
              <a:buFont typeface="Arial" pitchFamily="34" charset="0"/>
              <a:buChar char="−"/>
              <a:tabLst>
                <a:tab pos="203762" algn="l"/>
              </a:tabLst>
              <a:defRPr sz="717" b="0">
                <a:solidFill>
                  <a:schemeClr val="tx1"/>
                </a:solidFill>
                <a:latin typeface="Calibri" pitchFamily="34" charset="0"/>
                <a:cs typeface="Calibri" pitchFamily="34" charset="0"/>
              </a:defRPr>
            </a:lvl2pPr>
            <a:lvl3pPr marL="266787" indent="-60655">
              <a:buFont typeface="Arial" pitchFamily="34" charset="0"/>
              <a:buChar char="•"/>
              <a:defRPr lang="en-US" sz="418" b="1" dirty="0" smtClean="0">
                <a:solidFill>
                  <a:srgbClr val="003300"/>
                </a:solidFill>
                <a:latin typeface="+mn-lt"/>
              </a:defRPr>
            </a:lvl3pPr>
          </a:lstStyle>
          <a:p>
            <a:pPr lvl="0"/>
            <a:r>
              <a:rPr lang="en-US" dirty="0"/>
              <a:t>Click to edit Master text styles</a:t>
            </a:r>
          </a:p>
          <a:p>
            <a:pPr lvl="1"/>
            <a:r>
              <a:rPr lang="en-US" dirty="0"/>
              <a:t>Third level</a:t>
            </a:r>
          </a:p>
        </p:txBody>
      </p:sp>
      <p:sp>
        <p:nvSpPr>
          <p:cNvPr id="7" name="Text Placeholder 6"/>
          <p:cNvSpPr>
            <a:spLocks noGrp="1"/>
          </p:cNvSpPr>
          <p:nvPr>
            <p:ph type="body" sz="quarter" idx="10"/>
            <p:custDataLst>
              <p:tags r:id="rId5"/>
            </p:custDataLst>
          </p:nvPr>
        </p:nvSpPr>
        <p:spPr>
          <a:xfrm>
            <a:off x="245981" y="1017774"/>
            <a:ext cx="11438021" cy="163699"/>
          </a:xfrm>
          <a:prstGeom prst="rect">
            <a:avLst/>
          </a:prstGeom>
        </p:spPr>
        <p:txBody>
          <a:bodyPr/>
          <a:lstStyle>
            <a:lvl1pPr marL="0" indent="0">
              <a:buNone/>
              <a:defRPr sz="558">
                <a:solidFill>
                  <a:schemeClr val="tx1"/>
                </a:solidFill>
                <a:latin typeface="Calibri" pitchFamily="34" charset="0"/>
                <a:cs typeface="Calibri" pitchFamily="34" charset="0"/>
              </a:defRPr>
            </a:lvl1pPr>
            <a:lvl2pPr>
              <a:defRPr sz="358"/>
            </a:lvl2pPr>
            <a:lvl3pPr>
              <a:defRPr sz="328"/>
            </a:lvl3pPr>
            <a:lvl4pPr>
              <a:defRPr sz="418"/>
            </a:lvl4pPr>
            <a:lvl5pPr>
              <a:defRPr sz="418"/>
            </a:lvl5pPr>
          </a:lstStyle>
          <a:p>
            <a:pPr lvl="0"/>
            <a:r>
              <a:rPr lang="en-US" dirty="0"/>
              <a:t>Click to edit Master text styles</a:t>
            </a:r>
          </a:p>
        </p:txBody>
      </p:sp>
      <p:sp>
        <p:nvSpPr>
          <p:cNvPr id="15" name="Isosceles Triangle 14"/>
          <p:cNvSpPr>
            <a:spLocks noChangeAspect="1"/>
          </p:cNvSpPr>
          <p:nvPr userDrawn="1"/>
        </p:nvSpPr>
        <p:spPr>
          <a:xfrm rot="16200000">
            <a:off x="10466811" y="365950"/>
            <a:ext cx="182880" cy="210205"/>
          </a:xfrm>
          <a:prstGeom prst="triangle">
            <a:avLst/>
          </a:prstGeom>
          <a:solidFill>
            <a:srgbClr val="FFFF00"/>
          </a:solidFill>
          <a:ln w="6350" cap="flat" cmpd="sng" algn="ctr">
            <a:solidFill>
              <a:srgbClr val="FFFFFF"/>
            </a:solidFill>
            <a:prstDash val="solid"/>
          </a:ln>
          <a:effectLst/>
        </p:spPr>
        <p:txBody>
          <a:bodyPr rtlCol="0" anchor="t" anchorCtr="0"/>
          <a:lstStyle/>
          <a:p>
            <a:pPr algn="ctr" defTabSz="363929">
              <a:defRPr/>
            </a:pPr>
            <a:endParaRPr lang="en-US" sz="477" kern="0" dirty="0">
              <a:solidFill>
                <a:srgbClr val="000000"/>
              </a:solidFill>
              <a:latin typeface="Arial"/>
            </a:endParaRPr>
          </a:p>
        </p:txBody>
      </p:sp>
    </p:spTree>
    <p:extLst>
      <p:ext uri="{BB962C8B-B14F-4D97-AF65-F5344CB8AC3E}">
        <p14:creationId xmlns:p14="http://schemas.microsoft.com/office/powerpoint/2010/main" val="690714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userDrawn="1"/>
        </p:nvSpPr>
        <p:spPr>
          <a:xfrm>
            <a:off x="4" y="2"/>
            <a:ext cx="12192000" cy="14571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8" dirty="0">
              <a:solidFill>
                <a:prstClr val="white"/>
              </a:solidFill>
            </a:endParaRPr>
          </a:p>
        </p:txBody>
      </p:sp>
      <p:sp>
        <p:nvSpPr>
          <p:cNvPr id="12" name="Rectangle 11"/>
          <p:cNvSpPr/>
          <p:nvPr userDrawn="1"/>
        </p:nvSpPr>
        <p:spPr>
          <a:xfrm>
            <a:off x="3" y="2862014"/>
            <a:ext cx="5381433" cy="3995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8" dirty="0">
              <a:solidFill>
                <a:prstClr val="white"/>
              </a:solidFill>
            </a:endParaRPr>
          </a:p>
        </p:txBody>
      </p:sp>
      <p:sp>
        <p:nvSpPr>
          <p:cNvPr id="2" name="Title 1"/>
          <p:cNvSpPr>
            <a:spLocks noGrp="1"/>
          </p:cNvSpPr>
          <p:nvPr>
            <p:ph type="title"/>
          </p:nvPr>
        </p:nvSpPr>
        <p:spPr>
          <a:xfrm>
            <a:off x="736755" y="319235"/>
            <a:ext cx="10575578" cy="1066800"/>
          </a:xfrm>
        </p:spPr>
        <p:txBody>
          <a:bodyPr>
            <a:normAutofit/>
          </a:bodyPr>
          <a:lstStyle>
            <a:lvl1pPr>
              <a:defRPr sz="3294">
                <a:solidFill>
                  <a:schemeClr val="bg1"/>
                </a:solidFill>
              </a:defRPr>
            </a:lvl1pPr>
          </a:lstStyle>
          <a:p>
            <a:r>
              <a:rPr lang="en-US" dirty="0"/>
              <a:t>Click to edit Master title style</a:t>
            </a:r>
            <a:endParaRPr dirty="0"/>
          </a:p>
        </p:txBody>
      </p:sp>
      <p:sp>
        <p:nvSpPr>
          <p:cNvPr id="3" name="Content Placeholder 2"/>
          <p:cNvSpPr>
            <a:spLocks noGrp="1"/>
          </p:cNvSpPr>
          <p:nvPr>
            <p:ph idx="1"/>
          </p:nvPr>
        </p:nvSpPr>
        <p:spPr>
          <a:xfrm>
            <a:off x="1379864" y="1614635"/>
            <a:ext cx="8689064" cy="4191000"/>
          </a:xfrm>
        </p:spPr>
        <p:txBody>
          <a:bodyPr>
            <a:normAutofit/>
          </a:bodyPr>
          <a:lstStyle>
            <a:lvl1pPr>
              <a:defRPr sz="2396"/>
            </a:lvl1pPr>
            <a:lvl2pPr marL="540851" indent="-267454">
              <a:lnSpc>
                <a:spcPct val="100000"/>
              </a:lnSpc>
              <a:buFont typeface="Courier New" pitchFamily="49" charset="0"/>
              <a:buChar char="o"/>
              <a:defRPr sz="2396"/>
            </a:lvl2pPr>
            <a:lvl3pPr marL="801172" indent="-267454">
              <a:lnSpc>
                <a:spcPct val="100000"/>
              </a:lnSpc>
              <a:defRPr sz="2396"/>
            </a:lvl3pPr>
            <a:lvl4pPr>
              <a:defRPr sz="1497"/>
            </a:lvl4pPr>
            <a:lvl5pPr>
              <a:defRPr sz="1497"/>
            </a:lvl5pPr>
          </a:lstStyle>
          <a:p>
            <a:pPr lvl="0"/>
            <a:r>
              <a:rPr lang="en-US" dirty="0"/>
              <a:t>Click to edit Master text styles</a:t>
            </a:r>
          </a:p>
          <a:p>
            <a:pPr lvl="1"/>
            <a:r>
              <a:rPr lang="en-US" dirty="0"/>
              <a:t>Second level</a:t>
            </a:r>
          </a:p>
          <a:p>
            <a:pPr lvl="2"/>
            <a:r>
              <a:rPr lang="en-US" dirty="0"/>
              <a:t>Third level</a:t>
            </a:r>
          </a:p>
        </p:txBody>
      </p:sp>
      <p:sp>
        <p:nvSpPr>
          <p:cNvPr id="14" name="Footer Placeholder 4"/>
          <p:cNvSpPr>
            <a:spLocks noGrp="1"/>
          </p:cNvSpPr>
          <p:nvPr>
            <p:ph type="ftr" sz="quarter" idx="11"/>
          </p:nvPr>
        </p:nvSpPr>
        <p:spPr>
          <a:xfrm>
            <a:off x="2666085" y="6093852"/>
            <a:ext cx="5797473" cy="273049"/>
          </a:xfrm>
        </p:spPr>
        <p:txBody>
          <a:bodyPr/>
          <a:lstStyle>
            <a:lvl1pPr algn="ctr">
              <a:defRPr sz="1198"/>
            </a:lvl1pPr>
          </a:lstStyle>
          <a:p>
            <a:endParaRPr lang="en-GB" dirty="0">
              <a:solidFill>
                <a:srgbClr val="F07F09"/>
              </a:solidFill>
            </a:endParaRPr>
          </a:p>
        </p:txBody>
      </p:sp>
      <p:sp>
        <p:nvSpPr>
          <p:cNvPr id="15" name="Slide Number Placeholder 6"/>
          <p:cNvSpPr txBox="1">
            <a:spLocks/>
          </p:cNvSpPr>
          <p:nvPr userDrawn="1"/>
        </p:nvSpPr>
        <p:spPr>
          <a:xfrm>
            <a:off x="9668832" y="6093852"/>
            <a:ext cx="1219519" cy="273049"/>
          </a:xfrm>
          <a:prstGeom prst="rect">
            <a:avLst/>
          </a:prstGeom>
        </p:spPr>
        <p:txBody>
          <a:bodyPr vert="horz" lIns="68464" tIns="34232" rIns="68464" bIns="34232" rtlCol="0" anchor="ctr"/>
          <a:lstStyle/>
          <a:p>
            <a:pPr algn="r">
              <a:defRPr/>
            </a:pPr>
            <a:fld id="{AAEAE4A8-A6E5-453E-B946-FB774B73F48C}" type="slidenum">
              <a:rPr lang="en-GB" sz="1198" b="1">
                <a:solidFill>
                  <a:prstClr val="black">
                    <a:lumMod val="65000"/>
                    <a:lumOff val="35000"/>
                  </a:prstClr>
                </a:solidFill>
              </a:rPr>
              <a:pPr algn="r">
                <a:defRPr/>
              </a:pPr>
              <a:t>‹#›</a:t>
            </a:fld>
            <a:endParaRPr lang="en-GB" sz="1198" b="1" dirty="0">
              <a:solidFill>
                <a:prstClr val="black">
                  <a:lumMod val="65000"/>
                  <a:lumOff val="35000"/>
                </a:prstClr>
              </a:solidFill>
            </a:endParaRPr>
          </a:p>
        </p:txBody>
      </p:sp>
      <p:sp>
        <p:nvSpPr>
          <p:cNvPr id="17" name="Rectangle 16"/>
          <p:cNvSpPr/>
          <p:nvPr userDrawn="1"/>
        </p:nvSpPr>
        <p:spPr>
          <a:xfrm>
            <a:off x="0" y="2918710"/>
            <a:ext cx="593840" cy="16713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8" dirty="0">
              <a:solidFill>
                <a:prstClr val="white"/>
              </a:solidFill>
            </a:endParaRPr>
          </a:p>
        </p:txBody>
      </p:sp>
      <p:sp>
        <p:nvSpPr>
          <p:cNvPr id="11" name="Date Placeholder 3"/>
          <p:cNvSpPr>
            <a:spLocks noGrp="1"/>
          </p:cNvSpPr>
          <p:nvPr>
            <p:ph type="dt" sz="half" idx="10"/>
          </p:nvPr>
        </p:nvSpPr>
        <p:spPr>
          <a:xfrm>
            <a:off x="8757543" y="6094269"/>
            <a:ext cx="1371957" cy="273049"/>
          </a:xfrm>
        </p:spPr>
        <p:txBody>
          <a:bodyPr/>
          <a:lstStyle>
            <a:lvl1pPr>
              <a:defRPr sz="1198"/>
            </a:lvl1pPr>
          </a:lstStyle>
          <a:p>
            <a:fld id="{F47C09D8-7AB3-724D-BAB1-0D8E4E254FE3}" type="datetime1">
              <a:rPr lang="en-ZA" smtClean="0">
                <a:solidFill>
                  <a:prstClr val="black">
                    <a:lumMod val="65000"/>
                    <a:lumOff val="35000"/>
                  </a:prstClr>
                </a:solidFill>
              </a:rPr>
              <a:t>2023/05/30</a:t>
            </a:fld>
            <a:endParaRPr lang="en-US" dirty="0">
              <a:solidFill>
                <a:prstClr val="black">
                  <a:lumMod val="65000"/>
                  <a:lumOff val="35000"/>
                </a:prstClr>
              </a:solidFill>
            </a:endParaRPr>
          </a:p>
        </p:txBody>
      </p:sp>
      <p:pic>
        <p:nvPicPr>
          <p:cNvPr id="4" name="Picture 3"/>
          <p:cNvPicPr>
            <a:picLocks noChangeAspect="1"/>
          </p:cNvPicPr>
          <p:nvPr userDrawn="1"/>
        </p:nvPicPr>
        <p:blipFill>
          <a:blip r:embed="rId2"/>
          <a:stretch>
            <a:fillRect/>
          </a:stretch>
        </p:blipFill>
        <p:spPr>
          <a:xfrm>
            <a:off x="11705" y="6177220"/>
            <a:ext cx="1960943" cy="680780"/>
          </a:xfrm>
          <a:prstGeom prst="rect">
            <a:avLst/>
          </a:prstGeom>
        </p:spPr>
      </p:pic>
    </p:spTree>
    <p:extLst>
      <p:ext uri="{BB962C8B-B14F-4D97-AF65-F5344CB8AC3E}">
        <p14:creationId xmlns:p14="http://schemas.microsoft.com/office/powerpoint/2010/main" val="1553289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3864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2" y="0"/>
          <a:ext cx="211667" cy="158750"/>
        </p:xfrm>
        <a:graphic>
          <a:graphicData uri="http://schemas.openxmlformats.org/presentationml/2006/ole">
            <mc:AlternateContent xmlns:mc="http://schemas.openxmlformats.org/markup-compatibility/2006">
              <mc:Choice xmlns:v="urn:schemas-microsoft-com:vml" Requires="v">
                <p:oleObj spid="_x0000_s4109" r:id="rId7" imgW="0" imgH="0" progId="">
                  <p:embed/>
                </p:oleObj>
              </mc:Choice>
              <mc:Fallback>
                <p:oleObj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148174" y="221746"/>
            <a:ext cx="10519827" cy="515226"/>
          </a:xfrm>
          <a:prstGeom prst="rect">
            <a:avLst/>
          </a:prstGeom>
        </p:spPr>
        <p:txBody>
          <a:bodyPr anchor="ctr" anchorCtr="0"/>
          <a:lstStyle>
            <a:lvl1pPr>
              <a:defRPr sz="956">
                <a:solidFill>
                  <a:schemeClr val="bg2">
                    <a:lumMod val="75000"/>
                  </a:schemeClr>
                </a:solidFill>
                <a:latin typeface="Calibri" pitchFamily="34" charset="0"/>
                <a:cs typeface="Calibri" pitchFamily="34" charset="0"/>
              </a:defRPr>
            </a:lvl1pPr>
          </a:lstStyle>
          <a:p>
            <a:r>
              <a:rPr lang="en-US" dirty="0"/>
              <a:t>Click to edit Master title style</a:t>
            </a:r>
          </a:p>
        </p:txBody>
      </p:sp>
      <p:sp>
        <p:nvSpPr>
          <p:cNvPr id="3" name="Content Placeholder 2"/>
          <p:cNvSpPr>
            <a:spLocks noGrp="1"/>
          </p:cNvSpPr>
          <p:nvPr>
            <p:ph idx="1"/>
            <p:custDataLst>
              <p:tags r:id="rId4"/>
            </p:custDataLst>
          </p:nvPr>
        </p:nvSpPr>
        <p:spPr>
          <a:xfrm>
            <a:off x="152401" y="1829544"/>
            <a:ext cx="11531600" cy="4407768"/>
          </a:xfrm>
          <a:prstGeom prst="rect">
            <a:avLst/>
          </a:prstGeom>
        </p:spPr>
        <p:txBody>
          <a:bodyPr/>
          <a:lstStyle>
            <a:lvl1pPr marL="85770" indent="-85770">
              <a:spcBef>
                <a:spcPts val="0"/>
              </a:spcBef>
              <a:spcAft>
                <a:spcPts val="0"/>
              </a:spcAft>
              <a:buClr>
                <a:srgbClr val="FFC000"/>
              </a:buClr>
              <a:buSzPct val="120000"/>
              <a:buFont typeface="Arial" pitchFamily="34" charset="0"/>
              <a:buChar char="•"/>
              <a:defRPr lang="en-US" sz="956" b="0" dirty="0" smtClean="0">
                <a:solidFill>
                  <a:schemeClr val="tx1"/>
                </a:solidFill>
                <a:latin typeface="Calibri" pitchFamily="34" charset="0"/>
                <a:ea typeface="+mn-ea"/>
                <a:cs typeface="Calibri" pitchFamily="34" charset="0"/>
              </a:defRPr>
            </a:lvl1pPr>
            <a:lvl2pPr marL="203762" indent="-97616">
              <a:spcBef>
                <a:spcPts val="0"/>
              </a:spcBef>
              <a:spcAft>
                <a:spcPts val="0"/>
              </a:spcAft>
              <a:buClr>
                <a:srgbClr val="002060"/>
              </a:buClr>
              <a:buFont typeface="Arial" pitchFamily="34" charset="0"/>
              <a:buChar char="−"/>
              <a:tabLst>
                <a:tab pos="203762" algn="l"/>
              </a:tabLst>
              <a:defRPr sz="717" b="0">
                <a:solidFill>
                  <a:schemeClr val="tx1"/>
                </a:solidFill>
                <a:latin typeface="Calibri" pitchFamily="34" charset="0"/>
                <a:cs typeface="Calibri" pitchFamily="34" charset="0"/>
              </a:defRPr>
            </a:lvl2pPr>
            <a:lvl3pPr marL="266787" indent="-60655">
              <a:buFont typeface="Arial" pitchFamily="34" charset="0"/>
              <a:buChar char="•"/>
              <a:defRPr lang="en-US" sz="418" b="1" dirty="0" smtClean="0">
                <a:solidFill>
                  <a:srgbClr val="003300"/>
                </a:solidFill>
                <a:latin typeface="+mn-lt"/>
              </a:defRPr>
            </a:lvl3pPr>
          </a:lstStyle>
          <a:p>
            <a:pPr lvl="0"/>
            <a:r>
              <a:rPr lang="en-US" dirty="0"/>
              <a:t>Click to edit Master text styles</a:t>
            </a:r>
          </a:p>
          <a:p>
            <a:pPr lvl="1"/>
            <a:r>
              <a:rPr lang="en-US" dirty="0"/>
              <a:t>Third level</a:t>
            </a:r>
          </a:p>
        </p:txBody>
      </p:sp>
      <p:sp>
        <p:nvSpPr>
          <p:cNvPr id="7" name="Text Placeholder 6"/>
          <p:cNvSpPr>
            <a:spLocks noGrp="1"/>
          </p:cNvSpPr>
          <p:nvPr>
            <p:ph type="body" sz="quarter" idx="10"/>
            <p:custDataLst>
              <p:tags r:id="rId5"/>
            </p:custDataLst>
          </p:nvPr>
        </p:nvSpPr>
        <p:spPr>
          <a:xfrm>
            <a:off x="245981" y="1017774"/>
            <a:ext cx="11438021" cy="163699"/>
          </a:xfrm>
          <a:prstGeom prst="rect">
            <a:avLst/>
          </a:prstGeom>
        </p:spPr>
        <p:txBody>
          <a:bodyPr/>
          <a:lstStyle>
            <a:lvl1pPr marL="0" indent="0">
              <a:buNone/>
              <a:defRPr sz="558">
                <a:solidFill>
                  <a:schemeClr val="tx1"/>
                </a:solidFill>
                <a:latin typeface="Calibri" pitchFamily="34" charset="0"/>
                <a:cs typeface="Calibri" pitchFamily="34" charset="0"/>
              </a:defRPr>
            </a:lvl1pPr>
            <a:lvl2pPr>
              <a:defRPr sz="358"/>
            </a:lvl2pPr>
            <a:lvl3pPr>
              <a:defRPr sz="328"/>
            </a:lvl3pPr>
            <a:lvl4pPr>
              <a:defRPr sz="418"/>
            </a:lvl4pPr>
            <a:lvl5pPr>
              <a:defRPr sz="418"/>
            </a:lvl5pPr>
          </a:lstStyle>
          <a:p>
            <a:pPr lvl="0"/>
            <a:r>
              <a:rPr lang="en-US" dirty="0"/>
              <a:t>Click to edit Master text styles</a:t>
            </a:r>
          </a:p>
        </p:txBody>
      </p:sp>
      <p:sp>
        <p:nvSpPr>
          <p:cNvPr id="15" name="Isosceles Triangle 14"/>
          <p:cNvSpPr>
            <a:spLocks noChangeAspect="1"/>
          </p:cNvSpPr>
          <p:nvPr userDrawn="1"/>
        </p:nvSpPr>
        <p:spPr>
          <a:xfrm rot="16200000">
            <a:off x="10466811" y="365950"/>
            <a:ext cx="182880" cy="210205"/>
          </a:xfrm>
          <a:prstGeom prst="triangle">
            <a:avLst/>
          </a:prstGeom>
          <a:solidFill>
            <a:srgbClr val="FFFF00"/>
          </a:solidFill>
          <a:ln w="6350" cap="flat" cmpd="sng" algn="ctr">
            <a:solidFill>
              <a:srgbClr val="FFFFFF"/>
            </a:solidFill>
            <a:prstDash val="solid"/>
          </a:ln>
          <a:effectLst/>
        </p:spPr>
        <p:txBody>
          <a:bodyPr rtlCol="0" anchor="t" anchorCtr="0"/>
          <a:lstStyle/>
          <a:p>
            <a:pPr algn="ctr" defTabSz="363929">
              <a:defRPr/>
            </a:pPr>
            <a:endParaRPr lang="en-US" sz="477" kern="0" dirty="0">
              <a:solidFill>
                <a:srgbClr val="000000"/>
              </a:solidFill>
              <a:latin typeface="Arial"/>
            </a:endParaRPr>
          </a:p>
        </p:txBody>
      </p:sp>
    </p:spTree>
    <p:extLst>
      <p:ext uri="{BB962C8B-B14F-4D97-AF65-F5344CB8AC3E}">
        <p14:creationId xmlns:p14="http://schemas.microsoft.com/office/powerpoint/2010/main" val="1921340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5492" y="533401"/>
            <a:ext cx="8689063" cy="2286000"/>
          </a:xfrm>
        </p:spPr>
        <p:txBody>
          <a:bodyPr anchor="b">
            <a:normAutofit/>
          </a:bodyPr>
          <a:lstStyle>
            <a:lvl1pPr algn="l">
              <a:defRPr sz="4043" b="1" cap="none" baseline="0"/>
            </a:lvl1pPr>
          </a:lstStyle>
          <a:p>
            <a:r>
              <a:rPr lang="en-US"/>
              <a:t>Click to edit Master title style</a:t>
            </a:r>
            <a:endParaRPr/>
          </a:p>
        </p:txBody>
      </p:sp>
      <p:sp>
        <p:nvSpPr>
          <p:cNvPr id="3" name="Text Placeholder 2"/>
          <p:cNvSpPr>
            <a:spLocks noGrp="1"/>
          </p:cNvSpPr>
          <p:nvPr>
            <p:ph type="body" idx="1"/>
          </p:nvPr>
        </p:nvSpPr>
        <p:spPr>
          <a:xfrm>
            <a:off x="1065492" y="3124202"/>
            <a:ext cx="8689063" cy="1371600"/>
          </a:xfrm>
        </p:spPr>
        <p:txBody>
          <a:bodyPr anchor="t">
            <a:normAutofit/>
          </a:bodyPr>
          <a:lstStyle>
            <a:lvl1pPr marL="0" indent="0">
              <a:spcBef>
                <a:spcPts val="449"/>
              </a:spcBef>
              <a:buNone/>
              <a:defRPr sz="1797">
                <a:solidFill>
                  <a:schemeClr val="tx1">
                    <a:lumMod val="65000"/>
                    <a:lumOff val="35000"/>
                  </a:schemeClr>
                </a:solidFill>
              </a:defRPr>
            </a:lvl1pPr>
            <a:lvl2pPr marL="342341" indent="0">
              <a:buNone/>
              <a:defRPr sz="1348">
                <a:solidFill>
                  <a:schemeClr val="tx1">
                    <a:tint val="75000"/>
                  </a:schemeClr>
                </a:solidFill>
              </a:defRPr>
            </a:lvl2pPr>
            <a:lvl3pPr marL="684681" indent="0">
              <a:buNone/>
              <a:defRPr sz="1198">
                <a:solidFill>
                  <a:schemeClr val="tx1">
                    <a:tint val="75000"/>
                  </a:schemeClr>
                </a:solidFill>
              </a:defRPr>
            </a:lvl3pPr>
            <a:lvl4pPr marL="1027022" indent="0">
              <a:buNone/>
              <a:defRPr sz="1048">
                <a:solidFill>
                  <a:schemeClr val="tx1">
                    <a:tint val="75000"/>
                  </a:schemeClr>
                </a:solidFill>
              </a:defRPr>
            </a:lvl4pPr>
            <a:lvl5pPr marL="1369363" indent="0">
              <a:buNone/>
              <a:defRPr sz="1048">
                <a:solidFill>
                  <a:schemeClr val="tx1">
                    <a:tint val="75000"/>
                  </a:schemeClr>
                </a:solidFill>
              </a:defRPr>
            </a:lvl5pPr>
            <a:lvl6pPr marL="1711703" indent="0">
              <a:buNone/>
              <a:defRPr sz="1048">
                <a:solidFill>
                  <a:schemeClr val="tx1">
                    <a:tint val="75000"/>
                  </a:schemeClr>
                </a:solidFill>
              </a:defRPr>
            </a:lvl6pPr>
            <a:lvl7pPr marL="2054044" indent="0">
              <a:buNone/>
              <a:defRPr sz="1048">
                <a:solidFill>
                  <a:schemeClr val="tx1">
                    <a:tint val="75000"/>
                  </a:schemeClr>
                </a:solidFill>
              </a:defRPr>
            </a:lvl7pPr>
            <a:lvl8pPr marL="2396384" indent="0">
              <a:buNone/>
              <a:defRPr sz="1048">
                <a:solidFill>
                  <a:schemeClr val="tx1">
                    <a:tint val="75000"/>
                  </a:schemeClr>
                </a:solidFill>
              </a:defRPr>
            </a:lvl8pPr>
            <a:lvl9pPr marL="2738725" indent="0">
              <a:buNone/>
              <a:defRPr sz="104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1040CE-6179-4544-BB02-EC473ADC2C2A}"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5" name="Footer Placeholder 4"/>
          <p:cNvSpPr>
            <a:spLocks noGrp="1"/>
          </p:cNvSpPr>
          <p:nvPr>
            <p:ph type="ftr" sz="quarter" idx="11"/>
          </p:nvPr>
        </p:nvSpPr>
        <p:spPr/>
        <p:txBody>
          <a:bodyPr/>
          <a:lstStyle/>
          <a:p>
            <a:endParaRPr dirty="0">
              <a:solidFill>
                <a:prstClr val="black">
                  <a:lumMod val="65000"/>
                  <a:lumOff val="35000"/>
                </a:prstClr>
              </a:solidFill>
            </a:endParaRPr>
          </a:p>
        </p:txBody>
      </p:sp>
      <p:sp>
        <p:nvSpPr>
          <p:cNvPr id="6" name="Slide Number Placeholder 5"/>
          <p:cNvSpPr>
            <a:spLocks noGrp="1"/>
          </p:cNvSpPr>
          <p:nvPr>
            <p:ph type="sldNum" sz="quarter" idx="12"/>
          </p:nvPr>
        </p:nvSpPr>
        <p:spPr/>
        <p:txBody>
          <a:body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1667012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065490" y="1828800"/>
            <a:ext cx="4253068" cy="4191000"/>
          </a:xfrm>
        </p:spPr>
        <p:txBody>
          <a:bodyPr>
            <a:normAutofit/>
          </a:bodyPr>
          <a:lstStyle>
            <a:lvl1pPr>
              <a:defRPr sz="1497"/>
            </a:lvl1pPr>
            <a:lvl2pPr>
              <a:defRPr sz="1348"/>
            </a:lvl2pPr>
            <a:lvl3pPr>
              <a:defRPr sz="1198"/>
            </a:lvl3pPr>
            <a:lvl4pPr>
              <a:defRPr sz="1048"/>
            </a:lvl4pPr>
            <a:lvl5pPr>
              <a:defRPr sz="1048"/>
            </a:lvl5pPr>
            <a:lvl6pPr>
              <a:defRPr sz="1048"/>
            </a:lvl6pPr>
            <a:lvl7pPr>
              <a:defRPr sz="1048"/>
            </a:lvl7pPr>
            <a:lvl8pPr>
              <a:defRPr sz="1048"/>
            </a:lvl8pPr>
            <a:lvl9pPr>
              <a:defRPr sz="10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5466022" y="1828800"/>
            <a:ext cx="4253068" cy="4191000"/>
          </a:xfrm>
        </p:spPr>
        <p:txBody>
          <a:bodyPr>
            <a:normAutofit/>
          </a:bodyPr>
          <a:lstStyle>
            <a:lvl1pPr>
              <a:defRPr sz="1497"/>
            </a:lvl1pPr>
            <a:lvl2pPr>
              <a:defRPr sz="1348"/>
            </a:lvl2pPr>
            <a:lvl3pPr>
              <a:defRPr sz="1198"/>
            </a:lvl3pPr>
            <a:lvl4pPr>
              <a:defRPr sz="1048"/>
            </a:lvl4pPr>
            <a:lvl5pPr>
              <a:defRPr sz="1048"/>
            </a:lvl5pPr>
            <a:lvl6pPr>
              <a:defRPr sz="1048"/>
            </a:lvl6pPr>
            <a:lvl7pPr>
              <a:defRPr sz="1048"/>
            </a:lvl7pPr>
            <a:lvl8pPr>
              <a:defRPr sz="1048"/>
            </a:lvl8pPr>
            <a:lvl9pPr>
              <a:defRPr sz="10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3932382C-68ED-8A4F-9EBA-B37E3114A2E6}"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6" name="Footer Placeholder 5"/>
          <p:cNvSpPr>
            <a:spLocks noGrp="1"/>
          </p:cNvSpPr>
          <p:nvPr>
            <p:ph type="ftr" sz="quarter" idx="11"/>
          </p:nvPr>
        </p:nvSpPr>
        <p:spPr/>
        <p:txBody>
          <a:bodyPr/>
          <a:lstStyle/>
          <a:p>
            <a:endParaRPr dirty="0">
              <a:solidFill>
                <a:prstClr val="black">
                  <a:lumMod val="65000"/>
                  <a:lumOff val="35000"/>
                </a:prstClr>
              </a:solidFill>
            </a:endParaRPr>
          </a:p>
        </p:txBody>
      </p:sp>
      <p:sp>
        <p:nvSpPr>
          <p:cNvPr id="7" name="Slide Number Placeholder 6"/>
          <p:cNvSpPr>
            <a:spLocks noGrp="1"/>
          </p:cNvSpPr>
          <p:nvPr>
            <p:ph type="sldNum" sz="quarter" idx="12"/>
          </p:nvPr>
        </p:nvSpPr>
        <p:spPr/>
        <p:txBody>
          <a:body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6683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a:p>
        </p:txBody>
      </p:sp>
      <p:sp>
        <p:nvSpPr>
          <p:cNvPr id="3" name="Text Placeholder 2"/>
          <p:cNvSpPr>
            <a:spLocks noGrp="1"/>
          </p:cNvSpPr>
          <p:nvPr>
            <p:ph type="body" idx="1"/>
          </p:nvPr>
        </p:nvSpPr>
        <p:spPr>
          <a:xfrm>
            <a:off x="1065491" y="1828803"/>
            <a:ext cx="4253068" cy="685801"/>
          </a:xfrm>
        </p:spPr>
        <p:txBody>
          <a:bodyPr anchor="ctr">
            <a:normAutofit/>
          </a:bodyPr>
          <a:lstStyle>
            <a:lvl1pPr marL="0" indent="0">
              <a:spcBef>
                <a:spcPts val="0"/>
              </a:spcBef>
              <a:buNone/>
              <a:defRPr sz="1497" b="0"/>
            </a:lvl1pPr>
            <a:lvl2pPr marL="342341" indent="0">
              <a:buNone/>
              <a:defRPr sz="1497" b="1"/>
            </a:lvl2pPr>
            <a:lvl3pPr marL="684681" indent="0">
              <a:buNone/>
              <a:defRPr sz="1348" b="1"/>
            </a:lvl3pPr>
            <a:lvl4pPr marL="1027022" indent="0">
              <a:buNone/>
              <a:defRPr sz="1198" b="1"/>
            </a:lvl4pPr>
            <a:lvl5pPr marL="1369363" indent="0">
              <a:buNone/>
              <a:defRPr sz="1198" b="1"/>
            </a:lvl5pPr>
            <a:lvl6pPr marL="1711703" indent="0">
              <a:buNone/>
              <a:defRPr sz="1198" b="1"/>
            </a:lvl6pPr>
            <a:lvl7pPr marL="2054044" indent="0">
              <a:buNone/>
              <a:defRPr sz="1198" b="1"/>
            </a:lvl7pPr>
            <a:lvl8pPr marL="2396384" indent="0">
              <a:buNone/>
              <a:defRPr sz="1198" b="1"/>
            </a:lvl8pPr>
            <a:lvl9pPr marL="2738725" indent="0">
              <a:buNone/>
              <a:defRPr sz="1198" b="1"/>
            </a:lvl9pPr>
          </a:lstStyle>
          <a:p>
            <a:pPr lvl="0"/>
            <a:r>
              <a:rPr lang="en-US"/>
              <a:t>Click to edit Master text styles</a:t>
            </a:r>
          </a:p>
        </p:txBody>
      </p:sp>
      <p:sp>
        <p:nvSpPr>
          <p:cNvPr id="4" name="Content Placeholder 3"/>
          <p:cNvSpPr>
            <a:spLocks noGrp="1"/>
          </p:cNvSpPr>
          <p:nvPr>
            <p:ph sz="half" idx="2"/>
          </p:nvPr>
        </p:nvSpPr>
        <p:spPr>
          <a:xfrm>
            <a:off x="1065491" y="2590801"/>
            <a:ext cx="4253068" cy="3429000"/>
          </a:xfrm>
        </p:spPr>
        <p:txBody>
          <a:bodyPr>
            <a:normAutofit/>
          </a:bodyPr>
          <a:lstStyle>
            <a:lvl1pPr>
              <a:defRPr sz="1497"/>
            </a:lvl1pPr>
            <a:lvl2pPr>
              <a:defRPr sz="1348"/>
            </a:lvl2pPr>
            <a:lvl3pPr>
              <a:defRPr sz="1198"/>
            </a:lvl3pPr>
            <a:lvl4pPr>
              <a:defRPr sz="1048"/>
            </a:lvl4pPr>
            <a:lvl5pPr>
              <a:defRPr sz="1048"/>
            </a:lvl5pPr>
            <a:lvl6pPr>
              <a:defRPr sz="1048"/>
            </a:lvl6pPr>
            <a:lvl7pPr>
              <a:defRPr sz="1048"/>
            </a:lvl7pPr>
            <a:lvl8pPr>
              <a:defRPr sz="1048"/>
            </a:lvl8pPr>
            <a:lvl9pPr>
              <a:defRPr sz="10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5501486" y="1828803"/>
            <a:ext cx="4253068" cy="685801"/>
          </a:xfrm>
        </p:spPr>
        <p:txBody>
          <a:bodyPr anchor="ctr">
            <a:normAutofit/>
          </a:bodyPr>
          <a:lstStyle>
            <a:lvl1pPr marL="0" indent="0">
              <a:spcBef>
                <a:spcPts val="0"/>
              </a:spcBef>
              <a:buNone/>
              <a:defRPr sz="1497" b="0"/>
            </a:lvl1pPr>
            <a:lvl2pPr marL="342341" indent="0">
              <a:buNone/>
              <a:defRPr sz="1497" b="1"/>
            </a:lvl2pPr>
            <a:lvl3pPr marL="684681" indent="0">
              <a:buNone/>
              <a:defRPr sz="1348" b="1"/>
            </a:lvl3pPr>
            <a:lvl4pPr marL="1027022" indent="0">
              <a:buNone/>
              <a:defRPr sz="1198" b="1"/>
            </a:lvl4pPr>
            <a:lvl5pPr marL="1369363" indent="0">
              <a:buNone/>
              <a:defRPr sz="1198" b="1"/>
            </a:lvl5pPr>
            <a:lvl6pPr marL="1711703" indent="0">
              <a:buNone/>
              <a:defRPr sz="1198" b="1"/>
            </a:lvl6pPr>
            <a:lvl7pPr marL="2054044" indent="0">
              <a:buNone/>
              <a:defRPr sz="1198" b="1"/>
            </a:lvl7pPr>
            <a:lvl8pPr marL="2396384" indent="0">
              <a:buNone/>
              <a:defRPr sz="1198" b="1"/>
            </a:lvl8pPr>
            <a:lvl9pPr marL="2738725" indent="0">
              <a:buNone/>
              <a:defRPr sz="1198" b="1"/>
            </a:lvl9pPr>
          </a:lstStyle>
          <a:p>
            <a:pPr lvl="0"/>
            <a:r>
              <a:rPr lang="en-US"/>
              <a:t>Click to edit Master text styles</a:t>
            </a:r>
          </a:p>
        </p:txBody>
      </p:sp>
      <p:sp>
        <p:nvSpPr>
          <p:cNvPr id="6" name="Content Placeholder 5"/>
          <p:cNvSpPr>
            <a:spLocks noGrp="1"/>
          </p:cNvSpPr>
          <p:nvPr>
            <p:ph sz="quarter" idx="4"/>
          </p:nvPr>
        </p:nvSpPr>
        <p:spPr>
          <a:xfrm>
            <a:off x="5501486" y="2590801"/>
            <a:ext cx="4253068" cy="3429000"/>
          </a:xfrm>
        </p:spPr>
        <p:txBody>
          <a:bodyPr>
            <a:normAutofit/>
          </a:bodyPr>
          <a:lstStyle>
            <a:lvl1pPr>
              <a:defRPr sz="1497"/>
            </a:lvl1pPr>
            <a:lvl2pPr>
              <a:defRPr sz="1348"/>
            </a:lvl2pPr>
            <a:lvl3pPr>
              <a:defRPr sz="1198"/>
            </a:lvl3pPr>
            <a:lvl4pPr>
              <a:defRPr sz="1048"/>
            </a:lvl4pPr>
            <a:lvl5pPr>
              <a:defRPr sz="1048"/>
            </a:lvl5pPr>
            <a:lvl6pPr>
              <a:defRPr sz="1048"/>
            </a:lvl6pPr>
            <a:lvl7pPr>
              <a:defRPr sz="1048"/>
            </a:lvl7pPr>
            <a:lvl8pPr>
              <a:defRPr sz="1048"/>
            </a:lvl8pPr>
            <a:lvl9pPr>
              <a:defRPr sz="10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8E406ED4-3D1F-B04E-B635-474F6BF6112C}"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8" name="Footer Placeholder 7"/>
          <p:cNvSpPr>
            <a:spLocks noGrp="1"/>
          </p:cNvSpPr>
          <p:nvPr>
            <p:ph type="ftr" sz="quarter" idx="11"/>
          </p:nvPr>
        </p:nvSpPr>
        <p:spPr/>
        <p:txBody>
          <a:bodyPr/>
          <a:lstStyle/>
          <a:p>
            <a:endParaRPr dirty="0">
              <a:solidFill>
                <a:prstClr val="black">
                  <a:lumMod val="65000"/>
                  <a:lumOff val="35000"/>
                </a:prstClr>
              </a:solidFill>
            </a:endParaRPr>
          </a:p>
        </p:txBody>
      </p:sp>
      <p:sp>
        <p:nvSpPr>
          <p:cNvPr id="9" name="Slide Number Placeholder 8"/>
          <p:cNvSpPr>
            <a:spLocks noGrp="1"/>
          </p:cNvSpPr>
          <p:nvPr>
            <p:ph type="sldNum" sz="quarter" idx="12"/>
          </p:nvPr>
        </p:nvSpPr>
        <p:spPr/>
        <p:txBody>
          <a:body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66839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76D93485-C9F9-284E-8EF4-1F8616B13089}"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4" name="Footer Placeholder 3"/>
          <p:cNvSpPr>
            <a:spLocks noGrp="1"/>
          </p:cNvSpPr>
          <p:nvPr>
            <p:ph type="ftr" sz="quarter" idx="11"/>
          </p:nvPr>
        </p:nvSpPr>
        <p:spPr/>
        <p:txBody>
          <a:bodyPr/>
          <a:lstStyle/>
          <a:p>
            <a:endParaRPr dirty="0">
              <a:solidFill>
                <a:prstClr val="black">
                  <a:lumMod val="65000"/>
                  <a:lumOff val="35000"/>
                </a:prstClr>
              </a:solidFill>
            </a:endParaRPr>
          </a:p>
        </p:txBody>
      </p:sp>
      <p:sp>
        <p:nvSpPr>
          <p:cNvPr id="5" name="Slide Number Placeholder 4"/>
          <p:cNvSpPr>
            <a:spLocks noGrp="1"/>
          </p:cNvSpPr>
          <p:nvPr>
            <p:ph type="sldNum" sz="quarter" idx="12"/>
          </p:nvPr>
        </p:nvSpPr>
        <p:spPr/>
        <p:txBody>
          <a:body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372772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55E93DA-4B6E-694A-AA25-090D825FADD8}"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3" name="Footer Placeholder 2"/>
          <p:cNvSpPr>
            <a:spLocks noGrp="1"/>
          </p:cNvSpPr>
          <p:nvPr>
            <p:ph type="ftr" sz="quarter" idx="11"/>
          </p:nvPr>
        </p:nvSpPr>
        <p:spPr/>
        <p:txBody>
          <a:bodyPr/>
          <a:lstStyle/>
          <a:p>
            <a:endParaRPr dirty="0">
              <a:solidFill>
                <a:prstClr val="black">
                  <a:lumMod val="65000"/>
                  <a:lumOff val="35000"/>
                </a:prstClr>
              </a:solidFill>
            </a:endParaRPr>
          </a:p>
        </p:txBody>
      </p:sp>
      <p:sp>
        <p:nvSpPr>
          <p:cNvPr id="4" name="Slide Number Placeholder 3"/>
          <p:cNvSpPr>
            <a:spLocks noGrp="1"/>
          </p:cNvSpPr>
          <p:nvPr>
            <p:ph type="sldNum" sz="quarter" idx="12"/>
          </p:nvPr>
        </p:nvSpPr>
        <p:spPr/>
        <p:txBody>
          <a:body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335254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5490" y="533400"/>
            <a:ext cx="4115872" cy="1524000"/>
          </a:xfrm>
        </p:spPr>
        <p:txBody>
          <a:bodyPr anchor="b">
            <a:normAutofit/>
          </a:bodyPr>
          <a:lstStyle>
            <a:lvl1pPr algn="l">
              <a:defRPr sz="2695" b="1"/>
            </a:lvl1pPr>
          </a:lstStyle>
          <a:p>
            <a:r>
              <a:rPr lang="en-US"/>
              <a:t>Click to edit Master title style</a:t>
            </a:r>
            <a:endParaRPr/>
          </a:p>
        </p:txBody>
      </p:sp>
      <p:sp>
        <p:nvSpPr>
          <p:cNvPr id="3" name="Content Placeholder 2"/>
          <p:cNvSpPr>
            <a:spLocks noGrp="1"/>
          </p:cNvSpPr>
          <p:nvPr>
            <p:ph idx="1"/>
          </p:nvPr>
        </p:nvSpPr>
        <p:spPr>
          <a:xfrm>
            <a:off x="5867341" y="533400"/>
            <a:ext cx="5868928" cy="5486400"/>
          </a:xfrm>
        </p:spPr>
        <p:txBody>
          <a:bodyPr>
            <a:normAutofit/>
          </a:bodyPr>
          <a:lstStyle>
            <a:lvl1pPr>
              <a:defRPr sz="1497"/>
            </a:lvl1pPr>
            <a:lvl2pPr>
              <a:defRPr sz="1348"/>
            </a:lvl2pPr>
            <a:lvl3pPr>
              <a:defRPr sz="1198"/>
            </a:lvl3pPr>
            <a:lvl4pPr>
              <a:defRPr sz="1048"/>
            </a:lvl4pPr>
            <a:lvl5pPr>
              <a:defRPr sz="1048"/>
            </a:lvl5pPr>
            <a:lvl6pPr>
              <a:defRPr sz="1048"/>
            </a:lvl6pPr>
            <a:lvl7pPr>
              <a:defRPr sz="1048"/>
            </a:lvl7pPr>
            <a:lvl8pPr>
              <a:defRPr sz="1048"/>
            </a:lvl8pPr>
            <a:lvl9pPr>
              <a:defRPr sz="104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1065490" y="2209801"/>
            <a:ext cx="4115872" cy="3810000"/>
          </a:xfrm>
        </p:spPr>
        <p:txBody>
          <a:bodyPr>
            <a:normAutofit/>
          </a:bodyPr>
          <a:lstStyle>
            <a:lvl1pPr marL="0" indent="0">
              <a:lnSpc>
                <a:spcPct val="110000"/>
              </a:lnSpc>
              <a:spcBef>
                <a:spcPts val="449"/>
              </a:spcBef>
              <a:buNone/>
              <a:defRPr sz="1348">
                <a:solidFill>
                  <a:schemeClr val="tx1">
                    <a:lumMod val="65000"/>
                    <a:lumOff val="35000"/>
                  </a:schemeClr>
                </a:solidFill>
              </a:defRPr>
            </a:lvl1pPr>
            <a:lvl2pPr marL="342341" indent="0">
              <a:buNone/>
              <a:defRPr sz="898"/>
            </a:lvl2pPr>
            <a:lvl3pPr marL="684681" indent="0">
              <a:buNone/>
              <a:defRPr sz="749"/>
            </a:lvl3pPr>
            <a:lvl4pPr marL="1027022" indent="0">
              <a:buNone/>
              <a:defRPr sz="674"/>
            </a:lvl4pPr>
            <a:lvl5pPr marL="1369363" indent="0">
              <a:buNone/>
              <a:defRPr sz="674"/>
            </a:lvl5pPr>
            <a:lvl6pPr marL="1711703" indent="0">
              <a:buNone/>
              <a:defRPr sz="674"/>
            </a:lvl6pPr>
            <a:lvl7pPr marL="2054044" indent="0">
              <a:buNone/>
              <a:defRPr sz="674"/>
            </a:lvl7pPr>
            <a:lvl8pPr marL="2396384" indent="0">
              <a:buNone/>
              <a:defRPr sz="674"/>
            </a:lvl8pPr>
            <a:lvl9pPr marL="2738725" indent="0">
              <a:buNone/>
              <a:defRPr sz="674"/>
            </a:lvl9pPr>
          </a:lstStyle>
          <a:p>
            <a:pPr lvl="0"/>
            <a:r>
              <a:rPr lang="en-US"/>
              <a:t>Click to edit Master text styles</a:t>
            </a:r>
          </a:p>
        </p:txBody>
      </p:sp>
      <p:sp>
        <p:nvSpPr>
          <p:cNvPr id="5" name="Date Placeholder 4"/>
          <p:cNvSpPr>
            <a:spLocks noGrp="1"/>
          </p:cNvSpPr>
          <p:nvPr>
            <p:ph type="dt" sz="half" idx="10"/>
          </p:nvPr>
        </p:nvSpPr>
        <p:spPr/>
        <p:txBody>
          <a:bodyPr/>
          <a:lstStyle/>
          <a:p>
            <a:fld id="{445C872F-DC8B-C746-8415-3469AD2E11C7}"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6" name="Footer Placeholder 5"/>
          <p:cNvSpPr>
            <a:spLocks noGrp="1"/>
          </p:cNvSpPr>
          <p:nvPr>
            <p:ph type="ftr" sz="quarter" idx="11"/>
          </p:nvPr>
        </p:nvSpPr>
        <p:spPr/>
        <p:txBody>
          <a:bodyPr/>
          <a:lstStyle/>
          <a:p>
            <a:endParaRPr dirty="0">
              <a:solidFill>
                <a:prstClr val="black">
                  <a:lumMod val="65000"/>
                  <a:lumOff val="35000"/>
                </a:prstClr>
              </a:solidFill>
            </a:endParaRPr>
          </a:p>
        </p:txBody>
      </p:sp>
      <p:sp>
        <p:nvSpPr>
          <p:cNvPr id="7" name="Slide Number Placeholder 6"/>
          <p:cNvSpPr>
            <a:spLocks noGrp="1"/>
          </p:cNvSpPr>
          <p:nvPr>
            <p:ph type="sldNum" sz="quarter" idx="12"/>
          </p:nvPr>
        </p:nvSpPr>
        <p:spPr/>
        <p:txBody>
          <a:body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505533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5490" y="533400"/>
            <a:ext cx="4115872" cy="1524000"/>
          </a:xfrm>
        </p:spPr>
        <p:txBody>
          <a:bodyPr anchor="b">
            <a:noAutofit/>
          </a:bodyPr>
          <a:lstStyle>
            <a:lvl1pPr algn="l">
              <a:defRPr sz="2695" b="1"/>
            </a:lvl1pPr>
          </a:lstStyle>
          <a:p>
            <a:r>
              <a:rPr lang="en-US"/>
              <a:t>Click to edit Master title style</a:t>
            </a:r>
            <a:endParaRPr/>
          </a:p>
        </p:txBody>
      </p:sp>
      <p:sp>
        <p:nvSpPr>
          <p:cNvPr id="3" name="Picture Placeholder 2"/>
          <p:cNvSpPr>
            <a:spLocks noGrp="1"/>
          </p:cNvSpPr>
          <p:nvPr>
            <p:ph type="pic" idx="1"/>
          </p:nvPr>
        </p:nvSpPr>
        <p:spPr>
          <a:xfrm>
            <a:off x="5867345" y="533400"/>
            <a:ext cx="5781679" cy="5791200"/>
          </a:xfrm>
          <a:ln w="50800">
            <a:solidFill>
              <a:schemeClr val="tx1">
                <a:lumMod val="65000"/>
                <a:lumOff val="35000"/>
              </a:schemeClr>
            </a:solidFill>
            <a:miter lim="800000"/>
          </a:ln>
        </p:spPr>
        <p:txBody>
          <a:bodyPr>
            <a:normAutofit/>
          </a:bodyPr>
          <a:lstStyle>
            <a:lvl1pPr marL="0" indent="0" algn="ctr">
              <a:buNone/>
              <a:defRPr sz="1797"/>
            </a:lvl1pPr>
            <a:lvl2pPr marL="342341" indent="0">
              <a:buNone/>
              <a:defRPr sz="2096"/>
            </a:lvl2pPr>
            <a:lvl3pPr marL="684681" indent="0">
              <a:buNone/>
              <a:defRPr sz="1797"/>
            </a:lvl3pPr>
            <a:lvl4pPr marL="1027022" indent="0">
              <a:buNone/>
              <a:defRPr sz="1497"/>
            </a:lvl4pPr>
            <a:lvl5pPr marL="1369363" indent="0">
              <a:buNone/>
              <a:defRPr sz="1497"/>
            </a:lvl5pPr>
            <a:lvl6pPr marL="1711703" indent="0">
              <a:buNone/>
              <a:defRPr sz="1497"/>
            </a:lvl6pPr>
            <a:lvl7pPr marL="2054044" indent="0">
              <a:buNone/>
              <a:defRPr sz="1497"/>
            </a:lvl7pPr>
            <a:lvl8pPr marL="2396384" indent="0">
              <a:buNone/>
              <a:defRPr sz="1497"/>
            </a:lvl8pPr>
            <a:lvl9pPr marL="2738725" indent="0">
              <a:buNone/>
              <a:defRPr sz="1497"/>
            </a:lvl9pPr>
          </a:lstStyle>
          <a:p>
            <a:r>
              <a:rPr lang="en-US" dirty="0"/>
              <a:t>Click icon to add picture</a:t>
            </a:r>
            <a:endParaRPr dirty="0"/>
          </a:p>
        </p:txBody>
      </p:sp>
      <p:sp>
        <p:nvSpPr>
          <p:cNvPr id="4" name="Text Placeholder 3"/>
          <p:cNvSpPr>
            <a:spLocks noGrp="1"/>
          </p:cNvSpPr>
          <p:nvPr>
            <p:ph type="body" sz="half" idx="2"/>
          </p:nvPr>
        </p:nvSpPr>
        <p:spPr>
          <a:xfrm>
            <a:off x="1065490" y="2209801"/>
            <a:ext cx="4115872" cy="3810000"/>
          </a:xfrm>
        </p:spPr>
        <p:txBody>
          <a:bodyPr>
            <a:normAutofit/>
          </a:bodyPr>
          <a:lstStyle>
            <a:lvl1pPr marL="0" indent="0">
              <a:lnSpc>
                <a:spcPct val="110000"/>
              </a:lnSpc>
              <a:spcBef>
                <a:spcPts val="449"/>
              </a:spcBef>
              <a:buNone/>
              <a:defRPr sz="1348"/>
            </a:lvl1pPr>
            <a:lvl2pPr marL="342341" indent="0">
              <a:buNone/>
              <a:defRPr sz="898"/>
            </a:lvl2pPr>
            <a:lvl3pPr marL="684681" indent="0">
              <a:buNone/>
              <a:defRPr sz="749"/>
            </a:lvl3pPr>
            <a:lvl4pPr marL="1027022" indent="0">
              <a:buNone/>
              <a:defRPr sz="674"/>
            </a:lvl4pPr>
            <a:lvl5pPr marL="1369363" indent="0">
              <a:buNone/>
              <a:defRPr sz="674"/>
            </a:lvl5pPr>
            <a:lvl6pPr marL="1711703" indent="0">
              <a:buNone/>
              <a:defRPr sz="674"/>
            </a:lvl6pPr>
            <a:lvl7pPr marL="2054044" indent="0">
              <a:buNone/>
              <a:defRPr sz="674"/>
            </a:lvl7pPr>
            <a:lvl8pPr marL="2396384" indent="0">
              <a:buNone/>
              <a:defRPr sz="674"/>
            </a:lvl8pPr>
            <a:lvl9pPr marL="2738725" indent="0">
              <a:buNone/>
              <a:defRPr sz="674"/>
            </a:lvl9pPr>
          </a:lstStyle>
          <a:p>
            <a:pPr lvl="0"/>
            <a:r>
              <a:rPr lang="en-US"/>
              <a:t>Click to edit Master text styles</a:t>
            </a:r>
          </a:p>
        </p:txBody>
      </p:sp>
    </p:spTree>
    <p:extLst>
      <p:ext uri="{BB962C8B-B14F-4D97-AF65-F5344CB8AC3E}">
        <p14:creationId xmlns:p14="http://schemas.microsoft.com/office/powerpoint/2010/main" val="3035984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image" Target="../media/image6.jpe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65494" y="533401"/>
            <a:ext cx="8689064" cy="1066800"/>
          </a:xfrm>
          <a:prstGeom prst="rect">
            <a:avLst/>
          </a:prstGeom>
        </p:spPr>
        <p:txBody>
          <a:bodyPr vert="horz" lIns="91440" tIns="45720" rIns="91440" bIns="45720" rtlCol="0" anchor="b">
            <a:normAutofit/>
          </a:bodyPr>
          <a:lstStyle/>
          <a:p>
            <a:r>
              <a:rPr lang="en-US" dirty="0"/>
              <a:t>Click to edit Master title style</a:t>
            </a:r>
            <a:endParaRPr dirty="0"/>
          </a:p>
        </p:txBody>
      </p:sp>
      <p:sp>
        <p:nvSpPr>
          <p:cNvPr id="3" name="Text Placeholder 2"/>
          <p:cNvSpPr>
            <a:spLocks noGrp="1"/>
          </p:cNvSpPr>
          <p:nvPr>
            <p:ph type="body" idx="1"/>
          </p:nvPr>
        </p:nvSpPr>
        <p:spPr>
          <a:xfrm>
            <a:off x="1065494" y="1828800"/>
            <a:ext cx="8689064" cy="4191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4" name="Date Placeholder 3"/>
          <p:cNvSpPr>
            <a:spLocks noGrp="1"/>
          </p:cNvSpPr>
          <p:nvPr>
            <p:ph type="dt" sz="half" idx="2"/>
          </p:nvPr>
        </p:nvSpPr>
        <p:spPr>
          <a:xfrm>
            <a:off x="6934420" y="6155272"/>
            <a:ext cx="1371957" cy="273049"/>
          </a:xfrm>
          <a:prstGeom prst="rect">
            <a:avLst/>
          </a:prstGeom>
        </p:spPr>
        <p:txBody>
          <a:bodyPr vert="horz" lIns="91440" tIns="45720" rIns="91440" bIns="45720" rtlCol="0" anchor="ctr"/>
          <a:lstStyle>
            <a:lvl1pPr algn="r">
              <a:defRPr sz="749">
                <a:solidFill>
                  <a:schemeClr val="tx1">
                    <a:lumMod val="65000"/>
                    <a:lumOff val="35000"/>
                  </a:schemeClr>
                </a:solidFill>
              </a:defRPr>
            </a:lvl1pPr>
          </a:lstStyle>
          <a:p>
            <a:fld id="{EE61C988-CE2D-F54D-91CA-ADC636D8425C}" type="datetime1">
              <a:rPr lang="en-ZA" smtClean="0">
                <a:solidFill>
                  <a:prstClr val="black">
                    <a:lumMod val="65000"/>
                    <a:lumOff val="35000"/>
                  </a:prstClr>
                </a:solidFill>
              </a:rPr>
              <a:t>2023/05/30</a:t>
            </a:fld>
            <a:endParaRPr dirty="0">
              <a:solidFill>
                <a:prstClr val="black">
                  <a:lumMod val="65000"/>
                  <a:lumOff val="35000"/>
                </a:prstClr>
              </a:solidFill>
            </a:endParaRPr>
          </a:p>
        </p:txBody>
      </p:sp>
      <p:sp>
        <p:nvSpPr>
          <p:cNvPr id="5" name="Footer Placeholder 4"/>
          <p:cNvSpPr>
            <a:spLocks noGrp="1"/>
          </p:cNvSpPr>
          <p:nvPr>
            <p:ph type="ftr" sz="quarter" idx="3"/>
          </p:nvPr>
        </p:nvSpPr>
        <p:spPr>
          <a:xfrm>
            <a:off x="1065494" y="6155272"/>
            <a:ext cx="5654560" cy="273049"/>
          </a:xfrm>
          <a:prstGeom prst="rect">
            <a:avLst/>
          </a:prstGeom>
        </p:spPr>
        <p:txBody>
          <a:bodyPr vert="horz" lIns="91440" tIns="45720" rIns="91440" bIns="45720" rtlCol="0" anchor="ctr"/>
          <a:lstStyle>
            <a:lvl1pPr algn="l">
              <a:defRPr sz="749">
                <a:solidFill>
                  <a:schemeClr val="tx1">
                    <a:lumMod val="65000"/>
                    <a:lumOff val="35000"/>
                  </a:schemeClr>
                </a:solidFill>
              </a:defRPr>
            </a:lvl1pPr>
          </a:lstStyle>
          <a:p>
            <a:endParaRPr dirty="0">
              <a:solidFill>
                <a:prstClr val="black">
                  <a:lumMod val="65000"/>
                  <a:lumOff val="35000"/>
                </a:prstClr>
              </a:solidFill>
            </a:endParaRPr>
          </a:p>
        </p:txBody>
      </p:sp>
      <p:sp>
        <p:nvSpPr>
          <p:cNvPr id="6" name="Slide Number Placeholder 5"/>
          <p:cNvSpPr>
            <a:spLocks noGrp="1"/>
          </p:cNvSpPr>
          <p:nvPr>
            <p:ph type="sldNum" sz="quarter" idx="4"/>
          </p:nvPr>
        </p:nvSpPr>
        <p:spPr>
          <a:xfrm>
            <a:off x="8535039" y="6155272"/>
            <a:ext cx="1219519" cy="273049"/>
          </a:xfrm>
          <a:prstGeom prst="rect">
            <a:avLst/>
          </a:prstGeom>
        </p:spPr>
        <p:txBody>
          <a:bodyPr vert="horz" lIns="91440" tIns="45720" rIns="91440" bIns="45720" rtlCol="0" anchor="ctr"/>
          <a:lstStyle>
            <a:lvl1pPr algn="r">
              <a:defRPr sz="749">
                <a:solidFill>
                  <a:schemeClr val="tx1">
                    <a:lumMod val="65000"/>
                    <a:lumOff val="35000"/>
                  </a:schemeClr>
                </a:solidFill>
              </a:defRPr>
            </a:lvl1pPr>
          </a:lstStyle>
          <a:p>
            <a:fld id="{AAEAE4A8-A6E5-453E-B946-FB774B73F48C}" type="slidenum">
              <a:rPr>
                <a:solidFill>
                  <a:prstClr val="black">
                    <a:lumMod val="65000"/>
                    <a:lumOff val="35000"/>
                  </a:prstClr>
                </a:solidFill>
              </a:rPr>
              <a:pPr/>
              <a:t>‹#›</a:t>
            </a:fld>
            <a:endParaRPr dirty="0">
              <a:solidFill>
                <a:prstClr val="black">
                  <a:lumMod val="65000"/>
                  <a:lumOff val="35000"/>
                </a:prstClr>
              </a:solidFill>
            </a:endParaRPr>
          </a:p>
        </p:txBody>
      </p:sp>
    </p:spTree>
    <p:extLst>
      <p:ext uri="{BB962C8B-B14F-4D97-AF65-F5344CB8AC3E}">
        <p14:creationId xmlns:p14="http://schemas.microsoft.com/office/powerpoint/2010/main" val="24311891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8" r:id="rId12"/>
    <p:sldLayoutId id="2147483679" r:id="rId13"/>
    <p:sldLayoutId id="2147483680" r:id="rId14"/>
    <p:sldLayoutId id="2147483681" r:id="rId15"/>
    <p:sldLayoutId id="2147483682" r:id="rId16"/>
    <p:sldLayoutId id="2147483683"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4681" rtl="0" eaLnBrk="1" latinLnBrk="0" hangingPunct="1">
        <a:lnSpc>
          <a:spcPct val="80000"/>
        </a:lnSpc>
        <a:spcBef>
          <a:spcPct val="0"/>
        </a:spcBef>
        <a:buNone/>
        <a:defRPr sz="3294" b="0" kern="1200">
          <a:solidFill>
            <a:schemeClr val="accent1"/>
          </a:solidFill>
          <a:latin typeface="+mj-lt"/>
          <a:ea typeface="+mj-ea"/>
          <a:cs typeface="+mj-cs"/>
        </a:defRPr>
      </a:lvl1pPr>
    </p:titleStyle>
    <p:bodyStyle>
      <a:lvl1pPr marL="205405" indent="-171170" algn="l" defTabSz="684681" rtl="0" eaLnBrk="1" latinLnBrk="0" hangingPunct="1">
        <a:lnSpc>
          <a:spcPct val="90000"/>
        </a:lnSpc>
        <a:spcBef>
          <a:spcPts val="1348"/>
        </a:spcBef>
        <a:buClr>
          <a:schemeClr val="tx1">
            <a:lumMod val="65000"/>
            <a:lumOff val="35000"/>
          </a:schemeClr>
        </a:buClr>
        <a:buSzPct val="80000"/>
        <a:buFont typeface="Arial" pitchFamily="34" charset="0"/>
        <a:buChar char="•"/>
        <a:defRPr sz="2396" kern="1200">
          <a:solidFill>
            <a:schemeClr val="tx1">
              <a:lumMod val="65000"/>
              <a:lumOff val="35000"/>
            </a:schemeClr>
          </a:solidFill>
          <a:latin typeface="+mn-lt"/>
          <a:ea typeface="+mn-ea"/>
          <a:cs typeface="+mn-cs"/>
        </a:defRPr>
      </a:lvl1pPr>
      <a:lvl2pPr marL="445043" indent="-171170" algn="l" defTabSz="684681" rtl="0" eaLnBrk="1" latinLnBrk="0" hangingPunct="1">
        <a:lnSpc>
          <a:spcPct val="90000"/>
        </a:lnSpc>
        <a:spcBef>
          <a:spcPts val="749"/>
        </a:spcBef>
        <a:buClr>
          <a:schemeClr val="tx1">
            <a:lumMod val="65000"/>
            <a:lumOff val="35000"/>
          </a:schemeClr>
        </a:buClr>
        <a:buSzPct val="80000"/>
        <a:buFont typeface="Arial" pitchFamily="34" charset="0"/>
        <a:buChar char="•"/>
        <a:defRPr sz="2396" kern="1200">
          <a:solidFill>
            <a:schemeClr val="tx1">
              <a:lumMod val="65000"/>
              <a:lumOff val="35000"/>
            </a:schemeClr>
          </a:solidFill>
          <a:latin typeface="+mn-lt"/>
          <a:ea typeface="+mn-ea"/>
          <a:cs typeface="+mn-cs"/>
        </a:defRPr>
      </a:lvl2pPr>
      <a:lvl3pPr marL="581979" indent="-136936" algn="l" defTabSz="684681" rtl="0" eaLnBrk="1" latinLnBrk="0" hangingPunct="1">
        <a:lnSpc>
          <a:spcPct val="90000"/>
        </a:lnSpc>
        <a:spcBef>
          <a:spcPts val="449"/>
        </a:spcBef>
        <a:buClr>
          <a:schemeClr val="tx1">
            <a:lumMod val="65000"/>
            <a:lumOff val="35000"/>
          </a:schemeClr>
        </a:buClr>
        <a:buSzPct val="80000"/>
        <a:buFont typeface="Arial" pitchFamily="34" charset="0"/>
        <a:buChar char="•"/>
        <a:defRPr sz="2396" kern="1200">
          <a:solidFill>
            <a:schemeClr val="tx1">
              <a:lumMod val="65000"/>
              <a:lumOff val="35000"/>
            </a:schemeClr>
          </a:solidFill>
          <a:latin typeface="+mn-lt"/>
          <a:ea typeface="+mn-ea"/>
          <a:cs typeface="+mn-cs"/>
        </a:defRPr>
      </a:lvl3pPr>
      <a:lvl4pPr marL="718915" indent="-136936" algn="l" defTabSz="684681" rtl="0" eaLnBrk="1" latinLnBrk="0" hangingPunct="1">
        <a:lnSpc>
          <a:spcPct val="90000"/>
        </a:lnSpc>
        <a:spcBef>
          <a:spcPts val="449"/>
        </a:spcBef>
        <a:buClr>
          <a:schemeClr val="tx1">
            <a:lumMod val="65000"/>
            <a:lumOff val="35000"/>
          </a:schemeClr>
        </a:buClr>
        <a:buSzPct val="80000"/>
        <a:buFont typeface="Arial" pitchFamily="34" charset="0"/>
        <a:buChar char="•"/>
        <a:defRPr sz="2396" kern="1200">
          <a:solidFill>
            <a:schemeClr val="tx1">
              <a:lumMod val="65000"/>
              <a:lumOff val="35000"/>
            </a:schemeClr>
          </a:solidFill>
          <a:latin typeface="+mn-lt"/>
          <a:ea typeface="+mn-ea"/>
          <a:cs typeface="+mn-cs"/>
        </a:defRPr>
      </a:lvl4pPr>
      <a:lvl5pPr marL="821617" indent="-102702" algn="l" defTabSz="684681" rtl="0" eaLnBrk="1" latinLnBrk="0" hangingPunct="1">
        <a:lnSpc>
          <a:spcPct val="90000"/>
        </a:lnSpc>
        <a:spcBef>
          <a:spcPts val="449"/>
        </a:spcBef>
        <a:buClr>
          <a:schemeClr val="tx1">
            <a:lumMod val="65000"/>
            <a:lumOff val="35000"/>
          </a:schemeClr>
        </a:buClr>
        <a:buSzPct val="80000"/>
        <a:buFont typeface="Arial" pitchFamily="34" charset="0"/>
        <a:buChar char="•"/>
        <a:defRPr sz="2396" kern="1200">
          <a:solidFill>
            <a:schemeClr val="tx1">
              <a:lumMod val="65000"/>
              <a:lumOff val="35000"/>
            </a:schemeClr>
          </a:solidFill>
          <a:latin typeface="+mn-lt"/>
          <a:ea typeface="+mn-ea"/>
          <a:cs typeface="+mn-cs"/>
        </a:defRPr>
      </a:lvl5pPr>
      <a:lvl6pPr marL="924320" indent="-102702" algn="l" defTabSz="684681" rtl="0" eaLnBrk="1" latinLnBrk="0" hangingPunct="1">
        <a:spcBef>
          <a:spcPts val="449"/>
        </a:spcBef>
        <a:buSzPct val="80000"/>
        <a:buFont typeface="Arial" pitchFamily="34" charset="0"/>
        <a:buChar char="•"/>
        <a:defRPr sz="1048" kern="1200">
          <a:solidFill>
            <a:schemeClr val="tx1">
              <a:lumMod val="65000"/>
              <a:lumOff val="35000"/>
            </a:schemeClr>
          </a:solidFill>
          <a:latin typeface="+mn-lt"/>
          <a:ea typeface="+mn-ea"/>
          <a:cs typeface="+mn-cs"/>
        </a:defRPr>
      </a:lvl6pPr>
      <a:lvl7pPr marL="1027022" indent="-102702" algn="l" defTabSz="684681" rtl="0" eaLnBrk="1" latinLnBrk="0" hangingPunct="1">
        <a:spcBef>
          <a:spcPts val="449"/>
        </a:spcBef>
        <a:buSzPct val="80000"/>
        <a:buFont typeface="Arial" pitchFamily="34" charset="0"/>
        <a:buChar char="•"/>
        <a:defRPr sz="1048" kern="1200">
          <a:solidFill>
            <a:schemeClr val="tx1">
              <a:lumMod val="65000"/>
              <a:lumOff val="35000"/>
            </a:schemeClr>
          </a:solidFill>
          <a:latin typeface="+mn-lt"/>
          <a:ea typeface="+mn-ea"/>
          <a:cs typeface="+mn-cs"/>
        </a:defRPr>
      </a:lvl7pPr>
      <a:lvl8pPr marL="1129724" indent="-102702" algn="l" defTabSz="684681" rtl="0" eaLnBrk="1" latinLnBrk="0" hangingPunct="1">
        <a:spcBef>
          <a:spcPts val="449"/>
        </a:spcBef>
        <a:buSzPct val="80000"/>
        <a:buFont typeface="Arial" pitchFamily="34" charset="0"/>
        <a:buChar char="•"/>
        <a:defRPr sz="1048" kern="1200">
          <a:solidFill>
            <a:schemeClr val="tx1">
              <a:lumMod val="65000"/>
              <a:lumOff val="35000"/>
            </a:schemeClr>
          </a:solidFill>
          <a:latin typeface="+mn-lt"/>
          <a:ea typeface="+mn-ea"/>
          <a:cs typeface="+mn-cs"/>
        </a:defRPr>
      </a:lvl8pPr>
      <a:lvl9pPr marL="1232427" indent="-102702" algn="l" defTabSz="684681" rtl="0" eaLnBrk="1" latinLnBrk="0" hangingPunct="1">
        <a:spcBef>
          <a:spcPts val="449"/>
        </a:spcBef>
        <a:buSzPct val="80000"/>
        <a:buFont typeface="Arial" pitchFamily="34" charset="0"/>
        <a:buChar char="•"/>
        <a:defRPr sz="1048" kern="1200">
          <a:solidFill>
            <a:schemeClr val="tx1">
              <a:lumMod val="65000"/>
              <a:lumOff val="35000"/>
            </a:schemeClr>
          </a:solidFill>
          <a:latin typeface="+mn-lt"/>
          <a:ea typeface="+mn-ea"/>
          <a:cs typeface="+mn-cs"/>
        </a:defRPr>
      </a:lvl9pPr>
    </p:bodyStyle>
    <p:otherStyle>
      <a:defPPr>
        <a:defRPr/>
      </a:defPPr>
      <a:lvl1pPr marL="0" algn="l" defTabSz="684681" rtl="0" eaLnBrk="1" latinLnBrk="0" hangingPunct="1">
        <a:defRPr sz="1348" kern="1200">
          <a:solidFill>
            <a:schemeClr val="tx1"/>
          </a:solidFill>
          <a:latin typeface="+mn-lt"/>
          <a:ea typeface="+mn-ea"/>
          <a:cs typeface="+mn-cs"/>
        </a:defRPr>
      </a:lvl1pPr>
      <a:lvl2pPr marL="342341" algn="l" defTabSz="684681" rtl="0" eaLnBrk="1" latinLnBrk="0" hangingPunct="1">
        <a:defRPr sz="1348" kern="1200">
          <a:solidFill>
            <a:schemeClr val="tx1"/>
          </a:solidFill>
          <a:latin typeface="+mn-lt"/>
          <a:ea typeface="+mn-ea"/>
          <a:cs typeface="+mn-cs"/>
        </a:defRPr>
      </a:lvl2pPr>
      <a:lvl3pPr marL="684681" algn="l" defTabSz="684681" rtl="0" eaLnBrk="1" latinLnBrk="0" hangingPunct="1">
        <a:defRPr sz="1348" kern="1200">
          <a:solidFill>
            <a:schemeClr val="tx1"/>
          </a:solidFill>
          <a:latin typeface="+mn-lt"/>
          <a:ea typeface="+mn-ea"/>
          <a:cs typeface="+mn-cs"/>
        </a:defRPr>
      </a:lvl3pPr>
      <a:lvl4pPr marL="1027022" algn="l" defTabSz="684681" rtl="0" eaLnBrk="1" latinLnBrk="0" hangingPunct="1">
        <a:defRPr sz="1348" kern="1200">
          <a:solidFill>
            <a:schemeClr val="tx1"/>
          </a:solidFill>
          <a:latin typeface="+mn-lt"/>
          <a:ea typeface="+mn-ea"/>
          <a:cs typeface="+mn-cs"/>
        </a:defRPr>
      </a:lvl4pPr>
      <a:lvl5pPr marL="1369363" algn="l" defTabSz="684681" rtl="0" eaLnBrk="1" latinLnBrk="0" hangingPunct="1">
        <a:defRPr sz="1348" kern="1200">
          <a:solidFill>
            <a:schemeClr val="tx1"/>
          </a:solidFill>
          <a:latin typeface="+mn-lt"/>
          <a:ea typeface="+mn-ea"/>
          <a:cs typeface="+mn-cs"/>
        </a:defRPr>
      </a:lvl5pPr>
      <a:lvl6pPr marL="1711703" algn="l" defTabSz="684681" rtl="0" eaLnBrk="1" latinLnBrk="0" hangingPunct="1">
        <a:defRPr sz="1348" kern="1200">
          <a:solidFill>
            <a:schemeClr val="tx1"/>
          </a:solidFill>
          <a:latin typeface="+mn-lt"/>
          <a:ea typeface="+mn-ea"/>
          <a:cs typeface="+mn-cs"/>
        </a:defRPr>
      </a:lvl6pPr>
      <a:lvl7pPr marL="2054044" algn="l" defTabSz="684681" rtl="0" eaLnBrk="1" latinLnBrk="0" hangingPunct="1">
        <a:defRPr sz="1348" kern="1200">
          <a:solidFill>
            <a:schemeClr val="tx1"/>
          </a:solidFill>
          <a:latin typeface="+mn-lt"/>
          <a:ea typeface="+mn-ea"/>
          <a:cs typeface="+mn-cs"/>
        </a:defRPr>
      </a:lvl7pPr>
      <a:lvl8pPr marL="2396384" algn="l" defTabSz="684681" rtl="0" eaLnBrk="1" latinLnBrk="0" hangingPunct="1">
        <a:defRPr sz="1348" kern="1200">
          <a:solidFill>
            <a:schemeClr val="tx1"/>
          </a:solidFill>
          <a:latin typeface="+mn-lt"/>
          <a:ea typeface="+mn-ea"/>
          <a:cs typeface="+mn-cs"/>
        </a:defRPr>
      </a:lvl8pPr>
      <a:lvl9pPr marL="2738725" algn="l" defTabSz="684681" rtl="0" eaLnBrk="1" latinLnBrk="0" hangingPunct="1">
        <a:defRPr sz="134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userDrawn="1">
          <p15:clr>
            <a:srgbClr val="F26B43"/>
          </p15:clr>
        </p15:guide>
        <p15:guide id="2"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1695"/>
            <a:ext cx="12180573" cy="6854617"/>
          </a:xfrm>
          <a:prstGeom prst="rect">
            <a:avLst/>
          </a:prstGeom>
        </p:spPr>
      </p:pic>
    </p:spTree>
    <p:extLst>
      <p:ext uri="{BB962C8B-B14F-4D97-AF65-F5344CB8AC3E}">
        <p14:creationId xmlns:p14="http://schemas.microsoft.com/office/powerpoint/2010/main" val="1781455947"/>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dt="0"/>
  <p:txStyles>
    <p:titleStyle>
      <a:lvl1pPr algn="ctr" defTabSz="431322" rtl="0" eaLnBrk="1" latinLnBrk="0" hangingPunct="1">
        <a:spcBef>
          <a:spcPct val="0"/>
        </a:spcBef>
        <a:buNone/>
        <a:defRPr sz="4151" kern="1200">
          <a:solidFill>
            <a:schemeClr val="tx1"/>
          </a:solidFill>
          <a:latin typeface="+mj-lt"/>
          <a:ea typeface="+mj-ea"/>
          <a:cs typeface="+mj-cs"/>
        </a:defRPr>
      </a:lvl1pPr>
    </p:titleStyle>
    <p:bodyStyle>
      <a:lvl1pPr marL="323492" indent="-323492" algn="l" defTabSz="431322" rtl="0" eaLnBrk="1" latinLnBrk="0" hangingPunct="1">
        <a:spcBef>
          <a:spcPct val="20000"/>
        </a:spcBef>
        <a:buFont typeface="Arial"/>
        <a:buChar char="•"/>
        <a:defRPr sz="3019" kern="1200">
          <a:solidFill>
            <a:schemeClr val="tx1"/>
          </a:solidFill>
          <a:latin typeface="+mn-lt"/>
          <a:ea typeface="+mn-ea"/>
          <a:cs typeface="+mn-cs"/>
        </a:defRPr>
      </a:lvl1pPr>
      <a:lvl2pPr marL="700899" indent="-269577" algn="l" defTabSz="431322" rtl="0" eaLnBrk="1" latinLnBrk="0" hangingPunct="1">
        <a:spcBef>
          <a:spcPct val="20000"/>
        </a:spcBef>
        <a:buFont typeface="Arial"/>
        <a:buChar char="–"/>
        <a:defRPr sz="2642" kern="1200">
          <a:solidFill>
            <a:schemeClr val="tx1"/>
          </a:solidFill>
          <a:latin typeface="+mn-lt"/>
          <a:ea typeface="+mn-ea"/>
          <a:cs typeface="+mn-cs"/>
        </a:defRPr>
      </a:lvl2pPr>
      <a:lvl3pPr marL="1078306" indent="-215661" algn="l" defTabSz="431322" rtl="0" eaLnBrk="1" latinLnBrk="0" hangingPunct="1">
        <a:spcBef>
          <a:spcPct val="20000"/>
        </a:spcBef>
        <a:buFont typeface="Arial"/>
        <a:buChar char="•"/>
        <a:defRPr sz="2264" kern="1200">
          <a:solidFill>
            <a:schemeClr val="tx1"/>
          </a:solidFill>
          <a:latin typeface="+mn-lt"/>
          <a:ea typeface="+mn-ea"/>
          <a:cs typeface="+mn-cs"/>
        </a:defRPr>
      </a:lvl3pPr>
      <a:lvl4pPr marL="1509629" indent="-215661" algn="l" defTabSz="431322" rtl="0" eaLnBrk="1" latinLnBrk="0" hangingPunct="1">
        <a:spcBef>
          <a:spcPct val="20000"/>
        </a:spcBef>
        <a:buFont typeface="Arial"/>
        <a:buChar char="–"/>
        <a:defRPr sz="1887" kern="1200">
          <a:solidFill>
            <a:schemeClr val="tx1"/>
          </a:solidFill>
          <a:latin typeface="+mn-lt"/>
          <a:ea typeface="+mn-ea"/>
          <a:cs typeface="+mn-cs"/>
        </a:defRPr>
      </a:lvl4pPr>
      <a:lvl5pPr marL="1940951" indent="-215661" algn="l" defTabSz="431322" rtl="0" eaLnBrk="1" latinLnBrk="0" hangingPunct="1">
        <a:spcBef>
          <a:spcPct val="20000"/>
        </a:spcBef>
        <a:buFont typeface="Arial"/>
        <a:buChar char="»"/>
        <a:defRPr sz="1887" kern="1200">
          <a:solidFill>
            <a:schemeClr val="tx1"/>
          </a:solidFill>
          <a:latin typeface="+mn-lt"/>
          <a:ea typeface="+mn-ea"/>
          <a:cs typeface="+mn-cs"/>
        </a:defRPr>
      </a:lvl5pPr>
      <a:lvl6pPr marL="2372274" indent="-215661" algn="l" defTabSz="431322" rtl="0" eaLnBrk="1" latinLnBrk="0" hangingPunct="1">
        <a:spcBef>
          <a:spcPct val="20000"/>
        </a:spcBef>
        <a:buFont typeface="Arial"/>
        <a:buChar char="•"/>
        <a:defRPr sz="1887" kern="1200">
          <a:solidFill>
            <a:schemeClr val="tx1"/>
          </a:solidFill>
          <a:latin typeface="+mn-lt"/>
          <a:ea typeface="+mn-ea"/>
          <a:cs typeface="+mn-cs"/>
        </a:defRPr>
      </a:lvl6pPr>
      <a:lvl7pPr marL="2803596" indent="-215661" algn="l" defTabSz="431322" rtl="0" eaLnBrk="1" latinLnBrk="0" hangingPunct="1">
        <a:spcBef>
          <a:spcPct val="20000"/>
        </a:spcBef>
        <a:buFont typeface="Arial"/>
        <a:buChar char="•"/>
        <a:defRPr sz="1887" kern="1200">
          <a:solidFill>
            <a:schemeClr val="tx1"/>
          </a:solidFill>
          <a:latin typeface="+mn-lt"/>
          <a:ea typeface="+mn-ea"/>
          <a:cs typeface="+mn-cs"/>
        </a:defRPr>
      </a:lvl7pPr>
      <a:lvl8pPr marL="3234919" indent="-215661" algn="l" defTabSz="431322" rtl="0" eaLnBrk="1" latinLnBrk="0" hangingPunct="1">
        <a:spcBef>
          <a:spcPct val="20000"/>
        </a:spcBef>
        <a:buFont typeface="Arial"/>
        <a:buChar char="•"/>
        <a:defRPr sz="1887" kern="1200">
          <a:solidFill>
            <a:schemeClr val="tx1"/>
          </a:solidFill>
          <a:latin typeface="+mn-lt"/>
          <a:ea typeface="+mn-ea"/>
          <a:cs typeface="+mn-cs"/>
        </a:defRPr>
      </a:lvl8pPr>
      <a:lvl9pPr marL="3666241" indent="-215661" algn="l" defTabSz="431322" rtl="0" eaLnBrk="1" latinLnBrk="0" hangingPunct="1">
        <a:spcBef>
          <a:spcPct val="20000"/>
        </a:spcBef>
        <a:buFont typeface="Arial"/>
        <a:buChar char="•"/>
        <a:defRPr sz="1887" kern="1200">
          <a:solidFill>
            <a:schemeClr val="tx1"/>
          </a:solidFill>
          <a:latin typeface="+mn-lt"/>
          <a:ea typeface="+mn-ea"/>
          <a:cs typeface="+mn-cs"/>
        </a:defRPr>
      </a:lvl9pPr>
    </p:bodyStyle>
    <p:otherStyle>
      <a:defPPr>
        <a:defRPr lang="en-US"/>
      </a:defPPr>
      <a:lvl1pPr marL="0" algn="l" defTabSz="431322" rtl="0" eaLnBrk="1" latinLnBrk="0" hangingPunct="1">
        <a:defRPr sz="1698" kern="1200">
          <a:solidFill>
            <a:schemeClr val="tx1"/>
          </a:solidFill>
          <a:latin typeface="+mn-lt"/>
          <a:ea typeface="+mn-ea"/>
          <a:cs typeface="+mn-cs"/>
        </a:defRPr>
      </a:lvl1pPr>
      <a:lvl2pPr marL="431322" algn="l" defTabSz="431322" rtl="0" eaLnBrk="1" latinLnBrk="0" hangingPunct="1">
        <a:defRPr sz="1698" kern="1200">
          <a:solidFill>
            <a:schemeClr val="tx1"/>
          </a:solidFill>
          <a:latin typeface="+mn-lt"/>
          <a:ea typeface="+mn-ea"/>
          <a:cs typeface="+mn-cs"/>
        </a:defRPr>
      </a:lvl2pPr>
      <a:lvl3pPr marL="862645" algn="l" defTabSz="431322" rtl="0" eaLnBrk="1" latinLnBrk="0" hangingPunct="1">
        <a:defRPr sz="1698" kern="1200">
          <a:solidFill>
            <a:schemeClr val="tx1"/>
          </a:solidFill>
          <a:latin typeface="+mn-lt"/>
          <a:ea typeface="+mn-ea"/>
          <a:cs typeface="+mn-cs"/>
        </a:defRPr>
      </a:lvl3pPr>
      <a:lvl4pPr marL="1293967" algn="l" defTabSz="431322" rtl="0" eaLnBrk="1" latinLnBrk="0" hangingPunct="1">
        <a:defRPr sz="1698" kern="1200">
          <a:solidFill>
            <a:schemeClr val="tx1"/>
          </a:solidFill>
          <a:latin typeface="+mn-lt"/>
          <a:ea typeface="+mn-ea"/>
          <a:cs typeface="+mn-cs"/>
        </a:defRPr>
      </a:lvl4pPr>
      <a:lvl5pPr marL="1725290" algn="l" defTabSz="431322" rtl="0" eaLnBrk="1" latinLnBrk="0" hangingPunct="1">
        <a:defRPr sz="1698" kern="1200">
          <a:solidFill>
            <a:schemeClr val="tx1"/>
          </a:solidFill>
          <a:latin typeface="+mn-lt"/>
          <a:ea typeface="+mn-ea"/>
          <a:cs typeface="+mn-cs"/>
        </a:defRPr>
      </a:lvl5pPr>
      <a:lvl6pPr marL="2156612" algn="l" defTabSz="431322" rtl="0" eaLnBrk="1" latinLnBrk="0" hangingPunct="1">
        <a:defRPr sz="1698" kern="1200">
          <a:solidFill>
            <a:schemeClr val="tx1"/>
          </a:solidFill>
          <a:latin typeface="+mn-lt"/>
          <a:ea typeface="+mn-ea"/>
          <a:cs typeface="+mn-cs"/>
        </a:defRPr>
      </a:lvl6pPr>
      <a:lvl7pPr marL="2587935" algn="l" defTabSz="431322" rtl="0" eaLnBrk="1" latinLnBrk="0" hangingPunct="1">
        <a:defRPr sz="1698" kern="1200">
          <a:solidFill>
            <a:schemeClr val="tx1"/>
          </a:solidFill>
          <a:latin typeface="+mn-lt"/>
          <a:ea typeface="+mn-ea"/>
          <a:cs typeface="+mn-cs"/>
        </a:defRPr>
      </a:lvl7pPr>
      <a:lvl8pPr marL="3019257" algn="l" defTabSz="431322" rtl="0" eaLnBrk="1" latinLnBrk="0" hangingPunct="1">
        <a:defRPr sz="1698" kern="1200">
          <a:solidFill>
            <a:schemeClr val="tx1"/>
          </a:solidFill>
          <a:latin typeface="+mn-lt"/>
          <a:ea typeface="+mn-ea"/>
          <a:cs typeface="+mn-cs"/>
        </a:defRPr>
      </a:lvl8pPr>
      <a:lvl9pPr marL="3450580" algn="l" defTabSz="431322" rtl="0" eaLnBrk="1" latinLnBrk="0" hangingPunct="1">
        <a:defRPr sz="169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1695"/>
            <a:ext cx="12180573" cy="6854617"/>
          </a:xfrm>
          <a:prstGeom prst="rect">
            <a:avLst/>
          </a:prstGeom>
        </p:spPr>
      </p:pic>
    </p:spTree>
    <p:extLst>
      <p:ext uri="{BB962C8B-B14F-4D97-AF65-F5344CB8AC3E}">
        <p14:creationId xmlns:p14="http://schemas.microsoft.com/office/powerpoint/2010/main" val="2232143036"/>
      </p:ext>
    </p:extLst>
  </p:cSld>
  <p:clrMap bg1="lt1" tx1="dk1" bg2="lt2" tx2="dk2" accent1="accent1" accent2="accent2" accent3="accent3" accent4="accent4" accent5="accent5" accent6="accent6" hlink="hlink" folHlink="folHlink"/>
  <p:sldLayoutIdLst>
    <p:sldLayoutId id="2147483676" r:id="rId1"/>
    <p:sldLayoutId id="2147483677" r:id="rId2"/>
  </p:sldLayoutIdLst>
  <p:hf hdr="0" dt="0"/>
  <p:txStyles>
    <p:titleStyle>
      <a:lvl1pPr algn="ctr" defTabSz="431322" rtl="0" eaLnBrk="1" latinLnBrk="0" hangingPunct="1">
        <a:spcBef>
          <a:spcPct val="0"/>
        </a:spcBef>
        <a:buNone/>
        <a:defRPr sz="4151" kern="1200">
          <a:solidFill>
            <a:schemeClr val="tx1"/>
          </a:solidFill>
          <a:latin typeface="+mj-lt"/>
          <a:ea typeface="+mj-ea"/>
          <a:cs typeface="+mj-cs"/>
        </a:defRPr>
      </a:lvl1pPr>
    </p:titleStyle>
    <p:bodyStyle>
      <a:lvl1pPr marL="323492" indent="-323492" algn="l" defTabSz="431322" rtl="0" eaLnBrk="1" latinLnBrk="0" hangingPunct="1">
        <a:spcBef>
          <a:spcPct val="20000"/>
        </a:spcBef>
        <a:buFont typeface="Arial"/>
        <a:buChar char="•"/>
        <a:defRPr sz="3019" kern="1200">
          <a:solidFill>
            <a:schemeClr val="tx1"/>
          </a:solidFill>
          <a:latin typeface="+mn-lt"/>
          <a:ea typeface="+mn-ea"/>
          <a:cs typeface="+mn-cs"/>
        </a:defRPr>
      </a:lvl1pPr>
      <a:lvl2pPr marL="700899" indent="-269577" algn="l" defTabSz="431322" rtl="0" eaLnBrk="1" latinLnBrk="0" hangingPunct="1">
        <a:spcBef>
          <a:spcPct val="20000"/>
        </a:spcBef>
        <a:buFont typeface="Arial"/>
        <a:buChar char="–"/>
        <a:defRPr sz="2642" kern="1200">
          <a:solidFill>
            <a:schemeClr val="tx1"/>
          </a:solidFill>
          <a:latin typeface="+mn-lt"/>
          <a:ea typeface="+mn-ea"/>
          <a:cs typeface="+mn-cs"/>
        </a:defRPr>
      </a:lvl2pPr>
      <a:lvl3pPr marL="1078306" indent="-215661" algn="l" defTabSz="431322" rtl="0" eaLnBrk="1" latinLnBrk="0" hangingPunct="1">
        <a:spcBef>
          <a:spcPct val="20000"/>
        </a:spcBef>
        <a:buFont typeface="Arial"/>
        <a:buChar char="•"/>
        <a:defRPr sz="2264" kern="1200">
          <a:solidFill>
            <a:schemeClr val="tx1"/>
          </a:solidFill>
          <a:latin typeface="+mn-lt"/>
          <a:ea typeface="+mn-ea"/>
          <a:cs typeface="+mn-cs"/>
        </a:defRPr>
      </a:lvl3pPr>
      <a:lvl4pPr marL="1509629" indent="-215661" algn="l" defTabSz="431322" rtl="0" eaLnBrk="1" latinLnBrk="0" hangingPunct="1">
        <a:spcBef>
          <a:spcPct val="20000"/>
        </a:spcBef>
        <a:buFont typeface="Arial"/>
        <a:buChar char="–"/>
        <a:defRPr sz="1887" kern="1200">
          <a:solidFill>
            <a:schemeClr val="tx1"/>
          </a:solidFill>
          <a:latin typeface="+mn-lt"/>
          <a:ea typeface="+mn-ea"/>
          <a:cs typeface="+mn-cs"/>
        </a:defRPr>
      </a:lvl4pPr>
      <a:lvl5pPr marL="1940951" indent="-215661" algn="l" defTabSz="431322" rtl="0" eaLnBrk="1" latinLnBrk="0" hangingPunct="1">
        <a:spcBef>
          <a:spcPct val="20000"/>
        </a:spcBef>
        <a:buFont typeface="Arial"/>
        <a:buChar char="»"/>
        <a:defRPr sz="1887" kern="1200">
          <a:solidFill>
            <a:schemeClr val="tx1"/>
          </a:solidFill>
          <a:latin typeface="+mn-lt"/>
          <a:ea typeface="+mn-ea"/>
          <a:cs typeface="+mn-cs"/>
        </a:defRPr>
      </a:lvl5pPr>
      <a:lvl6pPr marL="2372274" indent="-215661" algn="l" defTabSz="431322" rtl="0" eaLnBrk="1" latinLnBrk="0" hangingPunct="1">
        <a:spcBef>
          <a:spcPct val="20000"/>
        </a:spcBef>
        <a:buFont typeface="Arial"/>
        <a:buChar char="•"/>
        <a:defRPr sz="1887" kern="1200">
          <a:solidFill>
            <a:schemeClr val="tx1"/>
          </a:solidFill>
          <a:latin typeface="+mn-lt"/>
          <a:ea typeface="+mn-ea"/>
          <a:cs typeface="+mn-cs"/>
        </a:defRPr>
      </a:lvl6pPr>
      <a:lvl7pPr marL="2803596" indent="-215661" algn="l" defTabSz="431322" rtl="0" eaLnBrk="1" latinLnBrk="0" hangingPunct="1">
        <a:spcBef>
          <a:spcPct val="20000"/>
        </a:spcBef>
        <a:buFont typeface="Arial"/>
        <a:buChar char="•"/>
        <a:defRPr sz="1887" kern="1200">
          <a:solidFill>
            <a:schemeClr val="tx1"/>
          </a:solidFill>
          <a:latin typeface="+mn-lt"/>
          <a:ea typeface="+mn-ea"/>
          <a:cs typeface="+mn-cs"/>
        </a:defRPr>
      </a:lvl7pPr>
      <a:lvl8pPr marL="3234919" indent="-215661" algn="l" defTabSz="431322" rtl="0" eaLnBrk="1" latinLnBrk="0" hangingPunct="1">
        <a:spcBef>
          <a:spcPct val="20000"/>
        </a:spcBef>
        <a:buFont typeface="Arial"/>
        <a:buChar char="•"/>
        <a:defRPr sz="1887" kern="1200">
          <a:solidFill>
            <a:schemeClr val="tx1"/>
          </a:solidFill>
          <a:latin typeface="+mn-lt"/>
          <a:ea typeface="+mn-ea"/>
          <a:cs typeface="+mn-cs"/>
        </a:defRPr>
      </a:lvl8pPr>
      <a:lvl9pPr marL="3666241" indent="-215661" algn="l" defTabSz="431322" rtl="0" eaLnBrk="1" latinLnBrk="0" hangingPunct="1">
        <a:spcBef>
          <a:spcPct val="20000"/>
        </a:spcBef>
        <a:buFont typeface="Arial"/>
        <a:buChar char="•"/>
        <a:defRPr sz="1887" kern="1200">
          <a:solidFill>
            <a:schemeClr val="tx1"/>
          </a:solidFill>
          <a:latin typeface="+mn-lt"/>
          <a:ea typeface="+mn-ea"/>
          <a:cs typeface="+mn-cs"/>
        </a:defRPr>
      </a:lvl9pPr>
    </p:bodyStyle>
    <p:otherStyle>
      <a:defPPr>
        <a:defRPr lang="en-US"/>
      </a:defPPr>
      <a:lvl1pPr marL="0" algn="l" defTabSz="431322" rtl="0" eaLnBrk="1" latinLnBrk="0" hangingPunct="1">
        <a:defRPr sz="1698" kern="1200">
          <a:solidFill>
            <a:schemeClr val="tx1"/>
          </a:solidFill>
          <a:latin typeface="+mn-lt"/>
          <a:ea typeface="+mn-ea"/>
          <a:cs typeface="+mn-cs"/>
        </a:defRPr>
      </a:lvl1pPr>
      <a:lvl2pPr marL="431322" algn="l" defTabSz="431322" rtl="0" eaLnBrk="1" latinLnBrk="0" hangingPunct="1">
        <a:defRPr sz="1698" kern="1200">
          <a:solidFill>
            <a:schemeClr val="tx1"/>
          </a:solidFill>
          <a:latin typeface="+mn-lt"/>
          <a:ea typeface="+mn-ea"/>
          <a:cs typeface="+mn-cs"/>
        </a:defRPr>
      </a:lvl2pPr>
      <a:lvl3pPr marL="862645" algn="l" defTabSz="431322" rtl="0" eaLnBrk="1" latinLnBrk="0" hangingPunct="1">
        <a:defRPr sz="1698" kern="1200">
          <a:solidFill>
            <a:schemeClr val="tx1"/>
          </a:solidFill>
          <a:latin typeface="+mn-lt"/>
          <a:ea typeface="+mn-ea"/>
          <a:cs typeface="+mn-cs"/>
        </a:defRPr>
      </a:lvl3pPr>
      <a:lvl4pPr marL="1293967" algn="l" defTabSz="431322" rtl="0" eaLnBrk="1" latinLnBrk="0" hangingPunct="1">
        <a:defRPr sz="1698" kern="1200">
          <a:solidFill>
            <a:schemeClr val="tx1"/>
          </a:solidFill>
          <a:latin typeface="+mn-lt"/>
          <a:ea typeface="+mn-ea"/>
          <a:cs typeface="+mn-cs"/>
        </a:defRPr>
      </a:lvl4pPr>
      <a:lvl5pPr marL="1725290" algn="l" defTabSz="431322" rtl="0" eaLnBrk="1" latinLnBrk="0" hangingPunct="1">
        <a:defRPr sz="1698" kern="1200">
          <a:solidFill>
            <a:schemeClr val="tx1"/>
          </a:solidFill>
          <a:latin typeface="+mn-lt"/>
          <a:ea typeface="+mn-ea"/>
          <a:cs typeface="+mn-cs"/>
        </a:defRPr>
      </a:lvl5pPr>
      <a:lvl6pPr marL="2156612" algn="l" defTabSz="431322" rtl="0" eaLnBrk="1" latinLnBrk="0" hangingPunct="1">
        <a:defRPr sz="1698" kern="1200">
          <a:solidFill>
            <a:schemeClr val="tx1"/>
          </a:solidFill>
          <a:latin typeface="+mn-lt"/>
          <a:ea typeface="+mn-ea"/>
          <a:cs typeface="+mn-cs"/>
        </a:defRPr>
      </a:lvl6pPr>
      <a:lvl7pPr marL="2587935" algn="l" defTabSz="431322" rtl="0" eaLnBrk="1" latinLnBrk="0" hangingPunct="1">
        <a:defRPr sz="1698" kern="1200">
          <a:solidFill>
            <a:schemeClr val="tx1"/>
          </a:solidFill>
          <a:latin typeface="+mn-lt"/>
          <a:ea typeface="+mn-ea"/>
          <a:cs typeface="+mn-cs"/>
        </a:defRPr>
      </a:lvl7pPr>
      <a:lvl8pPr marL="3019257" algn="l" defTabSz="431322" rtl="0" eaLnBrk="1" latinLnBrk="0" hangingPunct="1">
        <a:defRPr sz="1698" kern="1200">
          <a:solidFill>
            <a:schemeClr val="tx1"/>
          </a:solidFill>
          <a:latin typeface="+mn-lt"/>
          <a:ea typeface="+mn-ea"/>
          <a:cs typeface="+mn-cs"/>
        </a:defRPr>
      </a:lvl8pPr>
      <a:lvl9pPr marL="3450580" algn="l" defTabSz="431322" rtl="0" eaLnBrk="1" latinLnBrk="0" hangingPunct="1">
        <a:defRPr sz="16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comments" Target="../comments/comment1.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1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6.xml"/><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35.png"/><Relationship Id="rId2" Type="http://schemas.openxmlformats.org/officeDocument/2006/relationships/diagramData" Target="../diagrams/data9.xml"/><Relationship Id="rId1" Type="http://schemas.openxmlformats.org/officeDocument/2006/relationships/slideLayout" Target="../slideLayouts/slideLayout16.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2.xml"/><Relationship Id="rId5" Type="http://schemas.openxmlformats.org/officeDocument/2006/relationships/image" Target="../media/image39.jpeg"/><Relationship Id="rId4" Type="http://schemas.openxmlformats.org/officeDocument/2006/relationships/image" Target="../media/image38.jpeg"/></Relationships>
</file>

<file path=ppt/slides/_rels/slide3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40.png"/><Relationship Id="rId7"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41.png"/><Relationship Id="rId4" Type="http://schemas.microsoft.com/office/2007/relationships/hdphoto" Target="../media/hdphoto1.wdp"/></Relationships>
</file>

<file path=ppt/slides/_rels/slide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4.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39498" y="5324749"/>
            <a:ext cx="10316569" cy="112342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7" b="1" i="1" dirty="0">
              <a:solidFill>
                <a:prstClr val="white"/>
              </a:solidFill>
            </a:endParaRPr>
          </a:p>
        </p:txBody>
      </p:sp>
      <p:sp>
        <p:nvSpPr>
          <p:cNvPr id="2" name="Title 1"/>
          <p:cNvSpPr>
            <a:spLocks noGrp="1"/>
          </p:cNvSpPr>
          <p:nvPr>
            <p:ph type="ctrTitle"/>
          </p:nvPr>
        </p:nvSpPr>
        <p:spPr>
          <a:xfrm>
            <a:off x="739498" y="1641685"/>
            <a:ext cx="10316569" cy="1013467"/>
          </a:xfrm>
          <a:ln>
            <a:solidFill>
              <a:srgbClr val="FFC000"/>
            </a:solidFill>
          </a:ln>
        </p:spPr>
        <p:txBody>
          <a:bodyPr>
            <a:noAutofit/>
          </a:bodyPr>
          <a:lstStyle/>
          <a:p>
            <a:pPr algn="ctr"/>
            <a:r>
              <a:rPr lang="en-ZA" sz="3396" b="1" dirty="0"/>
              <a:t>Presentation to the Department of Public Works Portfolio Committee</a:t>
            </a:r>
            <a:endParaRPr lang="en-US" sz="2264" b="1" dirty="0"/>
          </a:p>
        </p:txBody>
      </p:sp>
      <p:sp>
        <p:nvSpPr>
          <p:cNvPr id="16" name="Subtitle 2"/>
          <p:cNvSpPr txBox="1">
            <a:spLocks/>
          </p:cNvSpPr>
          <p:nvPr/>
        </p:nvSpPr>
        <p:spPr>
          <a:xfrm>
            <a:off x="2565777" y="5693430"/>
            <a:ext cx="3765545" cy="1317892"/>
          </a:xfrm>
          <a:prstGeom prst="rect">
            <a:avLst/>
          </a:prstGeom>
        </p:spPr>
        <p:txBody>
          <a:bodyPr vert="horz" lIns="68464" tIns="34232" rIns="68464" bIns="34232" rtlCol="0">
            <a:normAutofit/>
          </a:bodyPr>
          <a:lstStyle/>
          <a:p>
            <a:pPr>
              <a:lnSpc>
                <a:spcPct val="90000"/>
              </a:lnSpc>
              <a:spcBef>
                <a:spcPts val="449"/>
              </a:spcBef>
              <a:buClr>
                <a:prstClr val="black">
                  <a:lumMod val="65000"/>
                  <a:lumOff val="35000"/>
                </a:prstClr>
              </a:buClr>
              <a:buSzPct val="80000"/>
              <a:defRPr/>
            </a:pPr>
            <a:endParaRPr lang="en-US" sz="1872" dirty="0">
              <a:solidFill>
                <a:srgbClr val="604878">
                  <a:lumMod val="60000"/>
                  <a:lumOff val="40000"/>
                </a:srgbClr>
              </a:solidFill>
            </a:endParaRPr>
          </a:p>
        </p:txBody>
      </p:sp>
      <p:pic>
        <p:nvPicPr>
          <p:cNvPr id="18" name="Picture 17" descr="prj182.jpg"/>
          <p:cNvPicPr>
            <a:picLocks noChangeAspect="1"/>
          </p:cNvPicPr>
          <p:nvPr/>
        </p:nvPicPr>
        <p:blipFill>
          <a:blip r:embed="rId2"/>
          <a:stretch>
            <a:fillRect/>
          </a:stretch>
        </p:blipFill>
        <p:spPr>
          <a:xfrm>
            <a:off x="5989025" y="3910394"/>
            <a:ext cx="1897370" cy="1283718"/>
          </a:xfrm>
          <a:prstGeom prst="rect">
            <a:avLst/>
          </a:prstGeom>
        </p:spPr>
      </p:pic>
      <p:pic>
        <p:nvPicPr>
          <p:cNvPr id="19" name="Picture 18" descr="prj192.jpg"/>
          <p:cNvPicPr>
            <a:picLocks noChangeAspect="1"/>
          </p:cNvPicPr>
          <p:nvPr/>
        </p:nvPicPr>
        <p:blipFill>
          <a:blip r:embed="rId3"/>
          <a:stretch>
            <a:fillRect/>
          </a:stretch>
        </p:blipFill>
        <p:spPr>
          <a:xfrm>
            <a:off x="4116937" y="3910394"/>
            <a:ext cx="1897370" cy="1283718"/>
          </a:xfrm>
          <a:prstGeom prst="rect">
            <a:avLst/>
          </a:prstGeom>
        </p:spPr>
      </p:pic>
      <p:pic>
        <p:nvPicPr>
          <p:cNvPr id="20" name="Picture 19" descr="prj201.jpg"/>
          <p:cNvPicPr>
            <a:picLocks noChangeAspect="1"/>
          </p:cNvPicPr>
          <p:nvPr/>
        </p:nvPicPr>
        <p:blipFill>
          <a:blip r:embed="rId4"/>
          <a:stretch>
            <a:fillRect/>
          </a:stretch>
        </p:blipFill>
        <p:spPr>
          <a:xfrm>
            <a:off x="739502" y="3910394"/>
            <a:ext cx="2265445" cy="1283718"/>
          </a:xfrm>
          <a:prstGeom prst="rect">
            <a:avLst/>
          </a:prstGeom>
        </p:spPr>
      </p:pic>
      <p:pic>
        <p:nvPicPr>
          <p:cNvPr id="21" name="Picture 20" descr="prj189.jpg"/>
          <p:cNvPicPr>
            <a:picLocks noChangeAspect="1"/>
          </p:cNvPicPr>
          <p:nvPr/>
        </p:nvPicPr>
        <p:blipFill>
          <a:blip r:embed="rId5" cstate="print"/>
          <a:stretch>
            <a:fillRect/>
          </a:stretch>
        </p:blipFill>
        <p:spPr>
          <a:xfrm>
            <a:off x="3004945" y="3910397"/>
            <a:ext cx="1165483" cy="1283718"/>
          </a:xfrm>
          <a:prstGeom prst="rect">
            <a:avLst/>
          </a:prstGeom>
        </p:spPr>
      </p:pic>
      <p:pic>
        <p:nvPicPr>
          <p:cNvPr id="22" name="Picture 21" descr="prj191.jpg"/>
          <p:cNvPicPr>
            <a:picLocks noChangeAspect="1"/>
          </p:cNvPicPr>
          <p:nvPr/>
        </p:nvPicPr>
        <p:blipFill>
          <a:blip r:embed="rId6" cstate="print"/>
          <a:stretch>
            <a:fillRect/>
          </a:stretch>
        </p:blipFill>
        <p:spPr>
          <a:xfrm>
            <a:off x="7861113" y="3910394"/>
            <a:ext cx="1254058" cy="1283718"/>
          </a:xfrm>
          <a:prstGeom prst="rect">
            <a:avLst/>
          </a:prstGeom>
        </p:spPr>
      </p:pic>
      <p:pic>
        <p:nvPicPr>
          <p:cNvPr id="23" name="Picture 22" descr="prj198.jpg"/>
          <p:cNvPicPr>
            <a:picLocks noChangeAspect="1"/>
          </p:cNvPicPr>
          <p:nvPr/>
        </p:nvPicPr>
        <p:blipFill>
          <a:blip r:embed="rId7"/>
          <a:stretch>
            <a:fillRect/>
          </a:stretch>
        </p:blipFill>
        <p:spPr>
          <a:xfrm>
            <a:off x="9115171" y="3910394"/>
            <a:ext cx="1940896" cy="1283718"/>
          </a:xfrm>
          <a:prstGeom prst="rect">
            <a:avLst/>
          </a:prstGeom>
        </p:spPr>
      </p:pic>
      <p:sp>
        <p:nvSpPr>
          <p:cNvPr id="13" name="Subtitle 2"/>
          <p:cNvSpPr txBox="1">
            <a:spLocks/>
          </p:cNvSpPr>
          <p:nvPr/>
        </p:nvSpPr>
        <p:spPr>
          <a:xfrm>
            <a:off x="2537610" y="5324750"/>
            <a:ext cx="6200225" cy="1317892"/>
          </a:xfrm>
          <a:prstGeom prst="rect">
            <a:avLst/>
          </a:prstGeom>
        </p:spPr>
        <p:txBody>
          <a:bodyPr vert="horz" lIns="68464" tIns="34232" rIns="68464" bIns="34232" rtlCol="0">
            <a:normAutofit/>
          </a:bodyPr>
          <a:lstStyle>
            <a:lvl1pPr marL="0" indent="0" algn="l" defTabSz="914400" rtl="0" eaLnBrk="1" latinLnBrk="0" hangingPunct="1">
              <a:lnSpc>
                <a:spcPct val="90000"/>
              </a:lnSpc>
              <a:spcBef>
                <a:spcPts val="600"/>
              </a:spcBef>
              <a:buClr>
                <a:schemeClr val="tx1">
                  <a:lumMod val="65000"/>
                  <a:lumOff val="35000"/>
                </a:schemeClr>
              </a:buClr>
              <a:buSzPct val="80000"/>
              <a:buFont typeface="Arial" pitchFamily="34" charset="0"/>
              <a:buNone/>
              <a:defRPr sz="2400" kern="1200">
                <a:solidFill>
                  <a:schemeClr val="tx1">
                    <a:lumMod val="65000"/>
                    <a:lumOff val="35000"/>
                  </a:schemeClr>
                </a:solidFill>
                <a:latin typeface="+mn-lt"/>
                <a:ea typeface="+mn-ea"/>
                <a:cs typeface="+mn-cs"/>
              </a:defRPr>
            </a:lvl1pPr>
            <a:lvl2pPr marL="457200" indent="0" algn="ctr" defTabSz="914400" rtl="0" eaLnBrk="1" latinLnBrk="0" hangingPunct="1">
              <a:lnSpc>
                <a:spcPct val="90000"/>
              </a:lnSpc>
              <a:spcBef>
                <a:spcPts val="1000"/>
              </a:spcBef>
              <a:buClr>
                <a:schemeClr val="tx1">
                  <a:lumMod val="65000"/>
                  <a:lumOff val="35000"/>
                </a:schemeClr>
              </a:buClr>
              <a:buSzPct val="80000"/>
              <a:buFont typeface="Arial"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600"/>
              </a:spcBef>
              <a:buClr>
                <a:schemeClr val="tx1">
                  <a:lumMod val="65000"/>
                  <a:lumOff val="35000"/>
                </a:schemeClr>
              </a:buClr>
              <a:buSzPct val="80000"/>
              <a:buFont typeface="Arial" pitchFamily="34" charset="0"/>
              <a:buNone/>
              <a:defRPr sz="16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600"/>
              </a:spcBef>
              <a:buClr>
                <a:schemeClr val="tx1">
                  <a:lumMod val="65000"/>
                  <a:lumOff val="35000"/>
                </a:schemeClr>
              </a:buClr>
              <a:buSzPct val="80000"/>
              <a:buFont typeface="Arial"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600"/>
              </a:spcBef>
              <a:buClr>
                <a:schemeClr val="tx1">
                  <a:lumMod val="65000"/>
                  <a:lumOff val="35000"/>
                </a:schemeClr>
              </a:buClr>
              <a:buSzPct val="80000"/>
              <a:buFont typeface="Arial"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ts val="600"/>
              </a:spcBef>
              <a:buSzPct val="80000"/>
              <a:buFont typeface="Arial" pitchFamily="34" charset="0"/>
              <a:buNone/>
              <a:defRPr sz="1400" kern="1200">
                <a:solidFill>
                  <a:schemeClr val="tx1">
                    <a:tint val="75000"/>
                  </a:schemeClr>
                </a:solidFill>
                <a:latin typeface="+mn-lt"/>
                <a:ea typeface="+mn-ea"/>
                <a:cs typeface="+mn-cs"/>
              </a:defRPr>
            </a:lvl6pPr>
            <a:lvl7pPr marL="2743200" indent="0" algn="ctr" defTabSz="914400" rtl="0" eaLnBrk="1" latinLnBrk="0" hangingPunct="1">
              <a:spcBef>
                <a:spcPts val="600"/>
              </a:spcBef>
              <a:buSzPct val="80000"/>
              <a:buFont typeface="Arial" pitchFamily="34"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ts val="600"/>
              </a:spcBef>
              <a:buSzPct val="80000"/>
              <a:buFont typeface="Arial" pitchFamily="34"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ts val="600"/>
              </a:spcBef>
              <a:buSzPct val="80000"/>
              <a:buFont typeface="Arial" pitchFamily="34" charset="0"/>
              <a:buNone/>
              <a:defRPr sz="1400" kern="1200">
                <a:solidFill>
                  <a:schemeClr val="tx1">
                    <a:tint val="75000"/>
                  </a:schemeClr>
                </a:solidFill>
                <a:latin typeface="+mn-lt"/>
                <a:ea typeface="+mn-ea"/>
                <a:cs typeface="+mn-cs"/>
              </a:defRPr>
            </a:lvl9pPr>
          </a:lstStyle>
          <a:p>
            <a:pPr>
              <a:buClr>
                <a:prstClr val="black">
                  <a:lumMod val="65000"/>
                  <a:lumOff val="35000"/>
                </a:prstClr>
              </a:buClr>
            </a:pPr>
            <a:endParaRPr lang="en-US" sz="2022" dirty="0">
              <a:solidFill>
                <a:prstClr val="white"/>
              </a:solidFill>
            </a:endParaRPr>
          </a:p>
        </p:txBody>
      </p:sp>
      <p:pic>
        <p:nvPicPr>
          <p:cNvPr id="2050" name="Picture 2" descr="Publi Works &amp; Infrastructur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9498" y="366877"/>
            <a:ext cx="3331554" cy="1144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ooter Placeholder 2">
            <a:extLst>
              <a:ext uri="{FF2B5EF4-FFF2-40B4-BE49-F238E27FC236}">
                <a16:creationId xmlns:a16="http://schemas.microsoft.com/office/drawing/2014/main" id="{AF44DFB2-6992-8E78-0584-0442DBE35E5B}"/>
              </a:ext>
            </a:extLst>
          </p:cNvPr>
          <p:cNvSpPr>
            <a:spLocks noGrp="1"/>
          </p:cNvSpPr>
          <p:nvPr>
            <p:ph type="ftr" sz="quarter" idx="11"/>
          </p:nvPr>
        </p:nvSpPr>
        <p:spPr/>
        <p:txBody>
          <a:bodyPr/>
          <a:lstStyle/>
          <a:p>
            <a:r>
              <a:rPr lang="en-ZA" dirty="0">
                <a:solidFill>
                  <a:prstClr val="black">
                    <a:lumMod val="65000"/>
                    <a:lumOff val="35000"/>
                  </a:prstClr>
                </a:solidFill>
              </a:rPr>
              <a:t>April 2023</a:t>
            </a:r>
          </a:p>
        </p:txBody>
      </p:sp>
      <p:sp>
        <p:nvSpPr>
          <p:cNvPr id="4" name="Slide Number Placeholder 3">
            <a:extLst>
              <a:ext uri="{FF2B5EF4-FFF2-40B4-BE49-F238E27FC236}">
                <a16:creationId xmlns:a16="http://schemas.microsoft.com/office/drawing/2014/main" id="{EC2401C9-85B5-FE44-FBAA-9C693827184A}"/>
              </a:ext>
            </a:extLst>
          </p:cNvPr>
          <p:cNvSpPr>
            <a:spLocks noGrp="1"/>
          </p:cNvSpPr>
          <p:nvPr>
            <p:ph type="sldNum" sz="quarter" idx="12"/>
          </p:nvPr>
        </p:nvSpPr>
        <p:spPr/>
        <p:txBody>
          <a:bodyPr/>
          <a:lstStyle/>
          <a:p>
            <a:fld id="{AAEAE4A8-A6E5-453E-B946-FB774B73F48C}" type="slidenum">
              <a:rPr lang="en-ZA" smtClean="0">
                <a:solidFill>
                  <a:prstClr val="black">
                    <a:lumMod val="65000"/>
                    <a:lumOff val="35000"/>
                  </a:prstClr>
                </a:solidFill>
              </a:rPr>
              <a:pPr/>
              <a:t>1</a:t>
            </a:fld>
            <a:endParaRPr lang="en-ZA" dirty="0">
              <a:solidFill>
                <a:prstClr val="black">
                  <a:lumMod val="65000"/>
                  <a:lumOff val="35000"/>
                </a:prstClr>
              </a:solidFill>
            </a:endParaRPr>
          </a:p>
        </p:txBody>
      </p:sp>
      <p:sp>
        <p:nvSpPr>
          <p:cNvPr id="5" name="Rectangle 4"/>
          <p:cNvSpPr/>
          <p:nvPr/>
        </p:nvSpPr>
        <p:spPr>
          <a:xfrm>
            <a:off x="739498" y="2585936"/>
            <a:ext cx="10104872" cy="1398781"/>
          </a:xfrm>
          <a:prstGeom prst="rect">
            <a:avLst/>
          </a:prstGeom>
        </p:spPr>
        <p:txBody>
          <a:bodyPr wrap="square">
            <a:spAutoFit/>
          </a:bodyPr>
          <a:lstStyle/>
          <a:p>
            <a:pPr algn="ctr"/>
            <a:r>
              <a:rPr lang="en-US" altLang="en-US" sz="1698" b="1" dirty="0"/>
              <a:t>Briefing by the Department of Public Works (DPW): </a:t>
            </a:r>
          </a:p>
          <a:p>
            <a:pPr algn="ctr"/>
            <a:endParaRPr lang="en-US" altLang="en-US" sz="1698" b="1" dirty="0"/>
          </a:p>
          <a:p>
            <a:pPr algn="ctr"/>
            <a:r>
              <a:rPr lang="en-US" altLang="en-US" sz="1698" b="1" dirty="0"/>
              <a:t>Update report on progress with the implementation of the Enterprise Resource System (SAGE and ARCHIBUS) to strengthen supply chain management and financial control systems to comply with PFMA and Treasury Guidelines</a:t>
            </a:r>
            <a:endParaRPr lang="en-ZA" sz="1698" dirty="0"/>
          </a:p>
        </p:txBody>
      </p:sp>
    </p:spTree>
    <p:extLst>
      <p:ext uri="{BB962C8B-B14F-4D97-AF65-F5344CB8AC3E}">
        <p14:creationId xmlns:p14="http://schemas.microsoft.com/office/powerpoint/2010/main" val="402826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E8E7070-6865-3959-C43A-BB689D004D63}"/>
              </a:ext>
            </a:extLst>
          </p:cNvPr>
          <p:cNvSpPr txBox="1">
            <a:spLocks/>
          </p:cNvSpPr>
          <p:nvPr/>
        </p:nvSpPr>
        <p:spPr>
          <a:xfrm>
            <a:off x="1782900" y="475723"/>
            <a:ext cx="7648268" cy="467253"/>
          </a:xfrm>
          <a:prstGeom prst="rect">
            <a:avLst/>
          </a:prstGeom>
        </p:spPr>
        <p:txBody>
          <a:bodyPr lIns="66266" tIns="33133" rIns="66266" bIns="33133"/>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ZA" sz="3019" dirty="0">
                <a:latin typeface="+mj-lt"/>
                <a:ea typeface="+mj-ea"/>
                <a:cs typeface="+mj-cs"/>
              </a:rPr>
              <a:t>GARTNER MAGIC QUADRANT (SAGE )</a:t>
            </a:r>
            <a:endParaRPr lang="en-US" sz="3019" dirty="0">
              <a:latin typeface="+mj-lt"/>
              <a:ea typeface="+mj-ea"/>
              <a:cs typeface="+mj-cs"/>
            </a:endParaRPr>
          </a:p>
        </p:txBody>
      </p:sp>
      <p:pic>
        <p:nvPicPr>
          <p:cNvPr id="33795" name="Picture 2">
            <a:extLst>
              <a:ext uri="{FF2B5EF4-FFF2-40B4-BE49-F238E27FC236}">
                <a16:creationId xmlns:a16="http://schemas.microsoft.com/office/drawing/2014/main" id="{2D65A493-AB6E-59B3-6165-AFA99DC0B0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82899" y="1064284"/>
            <a:ext cx="8626203" cy="45841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797" name="TextBox 9">
            <a:extLst>
              <a:ext uri="{FF2B5EF4-FFF2-40B4-BE49-F238E27FC236}">
                <a16:creationId xmlns:a16="http://schemas.microsoft.com/office/drawing/2014/main" id="{1C048E24-A0C6-C5CA-C42F-904CA76C06C2}"/>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10</a:t>
            </a:r>
            <a:endParaRPr lang="en-US" altLang="en-US" sz="1698" dirty="0"/>
          </a:p>
        </p:txBody>
      </p:sp>
    </p:spTree>
    <p:extLst>
      <p:ext uri="{BB962C8B-B14F-4D97-AF65-F5344CB8AC3E}">
        <p14:creationId xmlns:p14="http://schemas.microsoft.com/office/powerpoint/2010/main" val="3380892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D18F8-749C-520A-391F-5CC4AA7A762C}"/>
              </a:ext>
            </a:extLst>
          </p:cNvPr>
          <p:cNvSpPr>
            <a:spLocks noGrp="1"/>
          </p:cNvSpPr>
          <p:nvPr>
            <p:ph type="title"/>
          </p:nvPr>
        </p:nvSpPr>
        <p:spPr>
          <a:xfrm>
            <a:off x="805978" y="186594"/>
            <a:ext cx="10351444" cy="1181610"/>
          </a:xfrm>
        </p:spPr>
        <p:txBody>
          <a:bodyPr>
            <a:normAutofit/>
          </a:bodyPr>
          <a:lstStyle/>
          <a:p>
            <a:pPr>
              <a:defRPr/>
            </a:pPr>
            <a:r>
              <a:rPr lang="en-ZA" sz="2396" b="1" dirty="0"/>
              <a:t>Operationalising of </a:t>
            </a:r>
            <a:r>
              <a:rPr lang="en-ZA" sz="2396" b="1" dirty="0" err="1"/>
              <a:t>Archibus</a:t>
            </a:r>
            <a:r>
              <a:rPr lang="en-ZA" sz="2396" b="1" dirty="0"/>
              <a:t> ERP system</a:t>
            </a:r>
            <a:endParaRPr lang="en-US" sz="2396" dirty="0"/>
          </a:p>
        </p:txBody>
      </p:sp>
      <p:sp>
        <p:nvSpPr>
          <p:cNvPr id="3" name="TextBox 2">
            <a:extLst>
              <a:ext uri="{FF2B5EF4-FFF2-40B4-BE49-F238E27FC236}">
                <a16:creationId xmlns:a16="http://schemas.microsoft.com/office/drawing/2014/main" id="{F8CF7691-A3E3-A306-C2AA-581786C4D039}"/>
              </a:ext>
            </a:extLst>
          </p:cNvPr>
          <p:cNvSpPr txBox="1"/>
          <p:nvPr/>
        </p:nvSpPr>
        <p:spPr>
          <a:xfrm>
            <a:off x="612538" y="2073729"/>
            <a:ext cx="10966923" cy="3554819"/>
          </a:xfrm>
          <a:prstGeom prst="rect">
            <a:avLst/>
          </a:prstGeom>
          <a:noFill/>
        </p:spPr>
        <p:txBody>
          <a:bodyPr wrap="square" rtlCol="0">
            <a:spAutoFit/>
          </a:bodyPr>
          <a:lstStyle/>
          <a:p>
            <a:pPr marL="161746" indent="-161746">
              <a:lnSpc>
                <a:spcPct val="90000"/>
              </a:lnSpc>
              <a:spcAft>
                <a:spcPct val="35000"/>
              </a:spcAft>
              <a:buFont typeface="Arial" panose="020B0604020202020204" pitchFamily="34" charset="0"/>
              <a:buChar char="•"/>
              <a:defRPr/>
            </a:pPr>
            <a:r>
              <a:rPr lang="en-ZA" dirty="0">
                <a:solidFill>
                  <a:schemeClr val="dk1"/>
                </a:solidFill>
              </a:rPr>
              <a:t>2015 : EXCO took a decision as part of the turnaround programme to implement other “expanded "modules of ARCHIBUS. This decision was on the basis that ARCHIBUS was already bought though an open bid in when SAGE was procured in 2015. </a:t>
            </a:r>
          </a:p>
          <a:p>
            <a:pPr marL="161746" indent="-161746">
              <a:lnSpc>
                <a:spcPct val="90000"/>
              </a:lnSpc>
              <a:spcAft>
                <a:spcPct val="35000"/>
              </a:spcAft>
              <a:buFont typeface="Arial" panose="020B0604020202020204" pitchFamily="34" charset="0"/>
              <a:buChar char="•"/>
              <a:defRPr/>
            </a:pPr>
            <a:r>
              <a:rPr lang="en-ZA" dirty="0">
                <a:solidFill>
                  <a:schemeClr val="dk1"/>
                </a:solidFill>
              </a:rPr>
              <a:t>Core business stakeholders participate in the Modules Functional Analysis (Slide 12). All the modules score above the 70% pass mark except for SCM module.</a:t>
            </a:r>
          </a:p>
          <a:p>
            <a:pPr marL="161746" indent="-161746">
              <a:lnSpc>
                <a:spcPct val="90000"/>
              </a:lnSpc>
              <a:spcAft>
                <a:spcPct val="35000"/>
              </a:spcAft>
              <a:buFont typeface="Arial" panose="020B0604020202020204" pitchFamily="34" charset="0"/>
              <a:buChar char="•"/>
              <a:defRPr/>
            </a:pPr>
            <a:r>
              <a:rPr lang="en-ZA" dirty="0">
                <a:solidFill>
                  <a:schemeClr val="dk1"/>
                </a:solidFill>
              </a:rPr>
              <a:t>Further, the decision to opt for Archibus is supported by Accenture Report and Gardner Quadrant </a:t>
            </a:r>
            <a:r>
              <a:rPr lang="en-ZA" dirty="0" smtClean="0">
                <a:solidFill>
                  <a:schemeClr val="dk1"/>
                </a:solidFill>
              </a:rPr>
              <a:t>slides </a:t>
            </a:r>
          </a:p>
          <a:p>
            <a:pPr marL="161746" indent="-161746">
              <a:lnSpc>
                <a:spcPct val="90000"/>
              </a:lnSpc>
              <a:spcAft>
                <a:spcPct val="35000"/>
              </a:spcAft>
              <a:buFont typeface="Arial" panose="020B0604020202020204" pitchFamily="34" charset="0"/>
              <a:buChar char="•"/>
              <a:defRPr/>
            </a:pPr>
            <a:r>
              <a:rPr lang="en-ZA" dirty="0" smtClean="0">
                <a:solidFill>
                  <a:schemeClr val="dk1"/>
                </a:solidFill>
              </a:rPr>
              <a:t>Services </a:t>
            </a:r>
            <a:r>
              <a:rPr lang="en-ZA" dirty="0">
                <a:solidFill>
                  <a:schemeClr val="dk1"/>
                </a:solidFill>
              </a:rPr>
              <a:t>of LDM were sourced through the KZN DPW contract. The </a:t>
            </a:r>
            <a:r>
              <a:rPr lang="en-ZA" dirty="0" smtClean="0">
                <a:solidFill>
                  <a:schemeClr val="dk1"/>
                </a:solidFill>
              </a:rPr>
              <a:t>acquisition  </a:t>
            </a:r>
            <a:r>
              <a:rPr lang="en-ZA" dirty="0">
                <a:solidFill>
                  <a:schemeClr val="dk1"/>
                </a:solidFill>
              </a:rPr>
              <a:t>of the services of LDM was approved by NT . LDM contract expired in March 2017.</a:t>
            </a:r>
          </a:p>
          <a:p>
            <a:pPr marL="161746" indent="-161746">
              <a:buFont typeface="Arial" panose="020B0604020202020204" pitchFamily="34" charset="0"/>
              <a:buChar char="•"/>
              <a:defRPr/>
            </a:pPr>
            <a:endParaRPr lang="en-ZA" sz="1800" dirty="0">
              <a:solidFill>
                <a:schemeClr val="dk1"/>
              </a:solidFill>
            </a:endParaRPr>
          </a:p>
          <a:p>
            <a:pPr marL="342900" indent="-342900">
              <a:buAutoNum type="arabicPeriod"/>
            </a:pPr>
            <a:endParaRPr lang="en-US" dirty="0"/>
          </a:p>
          <a:p>
            <a:endParaRPr lang="en-US" dirty="0"/>
          </a:p>
        </p:txBody>
      </p:sp>
    </p:spTree>
    <p:extLst>
      <p:ext uri="{BB962C8B-B14F-4D97-AF65-F5344CB8AC3E}">
        <p14:creationId xmlns:p14="http://schemas.microsoft.com/office/powerpoint/2010/main" val="116861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51A1B0E9-EFA9-65F6-8F53-65529C97747B}"/>
              </a:ext>
            </a:extLst>
          </p:cNvPr>
          <p:cNvSpPr txBox="1">
            <a:spLocks/>
          </p:cNvSpPr>
          <p:nvPr/>
        </p:nvSpPr>
        <p:spPr>
          <a:xfrm>
            <a:off x="772017" y="487704"/>
            <a:ext cx="9813803" cy="726339"/>
          </a:xfrm>
          <a:prstGeom prst="rect">
            <a:avLst/>
          </a:prstGeom>
        </p:spPr>
        <p:txBody>
          <a:bodyPr lIns="66266" tIns="33133" rIns="66266" bIns="33133"/>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ZA" sz="3019" b="1" dirty="0">
                <a:latin typeface="+mj-lt"/>
                <a:ea typeface="+mj-ea"/>
                <a:cs typeface="+mj-cs"/>
              </a:rPr>
              <a:t>FUNCTIONAL ANALYSIS: SCORING ARCHIBUS FUNCTIONALITY AGAINST BUSINESS REQUIREMENTS</a:t>
            </a:r>
            <a:endParaRPr lang="en-US" sz="3019" b="1" dirty="0">
              <a:latin typeface="+mj-lt"/>
              <a:ea typeface="+mj-ea"/>
              <a:cs typeface="+mj-cs"/>
            </a:endParaRPr>
          </a:p>
        </p:txBody>
      </p:sp>
      <p:graphicFrame>
        <p:nvGraphicFramePr>
          <p:cNvPr id="3" name="Diagram 2">
            <a:extLst>
              <a:ext uri="{FF2B5EF4-FFF2-40B4-BE49-F238E27FC236}">
                <a16:creationId xmlns:a16="http://schemas.microsoft.com/office/drawing/2014/main" id="{027CCB70-FDAD-DA8D-680C-4E1E0AD916A6}"/>
              </a:ext>
            </a:extLst>
          </p:cNvPr>
          <p:cNvGraphicFramePr/>
          <p:nvPr/>
        </p:nvGraphicFramePr>
        <p:xfrm>
          <a:off x="736537" y="1517175"/>
          <a:ext cx="9342021" cy="43130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868" name="Rectangle 4">
            <a:extLst>
              <a:ext uri="{FF2B5EF4-FFF2-40B4-BE49-F238E27FC236}">
                <a16:creationId xmlns:a16="http://schemas.microsoft.com/office/drawing/2014/main" id="{A1EA6D98-1B75-4619-0E84-1B836A63EC85}"/>
              </a:ext>
            </a:extLst>
          </p:cNvPr>
          <p:cNvSpPr>
            <a:spLocks noChangeArrowheads="1"/>
          </p:cNvSpPr>
          <p:nvPr/>
        </p:nvSpPr>
        <p:spPr bwMode="auto">
          <a:xfrm>
            <a:off x="10078131" y="1750187"/>
            <a:ext cx="1657848" cy="905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ZA" altLang="en-US" sz="1321" b="1"/>
              <a:t>Success criteria = 70% business requirements 30% Customization</a:t>
            </a:r>
          </a:p>
        </p:txBody>
      </p:sp>
      <p:sp>
        <p:nvSpPr>
          <p:cNvPr id="36870" name="TextBox 10">
            <a:extLst>
              <a:ext uri="{FF2B5EF4-FFF2-40B4-BE49-F238E27FC236}">
                <a16:creationId xmlns:a16="http://schemas.microsoft.com/office/drawing/2014/main" id="{AA71E57D-85BD-913E-3609-CA998AAD1FDC}"/>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12</a:t>
            </a:r>
            <a:endParaRPr lang="en-US" altLang="en-US" sz="1698" dirty="0"/>
          </a:p>
        </p:txBody>
      </p:sp>
    </p:spTree>
    <p:extLst>
      <p:ext uri="{BB962C8B-B14F-4D97-AF65-F5344CB8AC3E}">
        <p14:creationId xmlns:p14="http://schemas.microsoft.com/office/powerpoint/2010/main" val="2510639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087D6594-34FE-9F0F-EC94-4EE104F64038}"/>
              </a:ext>
            </a:extLst>
          </p:cNvPr>
          <p:cNvSpPr>
            <a:spLocks noGrp="1"/>
          </p:cNvSpPr>
          <p:nvPr>
            <p:ph type="title"/>
          </p:nvPr>
        </p:nvSpPr>
        <p:spPr bwMode="auto">
          <a:xfrm>
            <a:off x="1556760" y="802203"/>
            <a:ext cx="9920134" cy="681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pPr algn="l"/>
            <a:r>
              <a:rPr lang="en-US" altLang="en-US" sz="3019"/>
              <a:t>GARTNER MAGIC QUADRANT (ARCHIBUS) </a:t>
            </a:r>
          </a:p>
        </p:txBody>
      </p:sp>
      <p:pic>
        <p:nvPicPr>
          <p:cNvPr id="34820" name="Picture 3">
            <a:extLst>
              <a:ext uri="{FF2B5EF4-FFF2-40B4-BE49-F238E27FC236}">
                <a16:creationId xmlns:a16="http://schemas.microsoft.com/office/drawing/2014/main" id="{D45B42D2-EB5B-B4B0-F0C5-603DB329F6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5919" y="1829556"/>
            <a:ext cx="8626203" cy="4226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412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a:extLst>
              <a:ext uri="{FF2B5EF4-FFF2-40B4-BE49-F238E27FC236}">
                <a16:creationId xmlns:a16="http://schemas.microsoft.com/office/drawing/2014/main" id="{77A765DE-9A81-A8CC-CAE9-C21E8176C58A}"/>
              </a:ext>
            </a:extLst>
          </p:cNvPr>
          <p:cNvSpPr>
            <a:spLocks noGrp="1"/>
          </p:cNvSpPr>
          <p:nvPr>
            <p:ph type="title"/>
          </p:nvPr>
        </p:nvSpPr>
        <p:spPr bwMode="auto">
          <a:xfrm>
            <a:off x="1556761" y="802201"/>
            <a:ext cx="8097548" cy="13119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fontScale="90000"/>
          </a:bodyPr>
          <a:lstStyle/>
          <a:p>
            <a:r>
              <a:rPr lang="en-US" altLang="en-US" sz="3019" b="1"/>
              <a:t>ARCHIBUS ENTERPRISE OVERVIEW</a:t>
            </a:r>
            <a:br>
              <a:rPr lang="en-US" altLang="en-US" sz="3019" b="1"/>
            </a:br>
            <a:r>
              <a:rPr lang="en-US" altLang="en-US" sz="3019" b="1"/>
              <a:t>ACCENTURE CONCLUSIONS</a:t>
            </a:r>
            <a:br>
              <a:rPr lang="en-US" altLang="en-US" sz="3019" b="1"/>
            </a:br>
            <a:r>
              <a:rPr lang="en-US" altLang="en-US" sz="3019" b="1"/>
              <a:t>  </a:t>
            </a:r>
            <a:br>
              <a:rPr lang="en-US" altLang="en-US" sz="3019" b="1"/>
            </a:br>
            <a:endParaRPr lang="en-US" altLang="en-US" sz="3019" b="1"/>
          </a:p>
        </p:txBody>
      </p:sp>
      <p:sp>
        <p:nvSpPr>
          <p:cNvPr id="3" name="Rectangle 2">
            <a:extLst>
              <a:ext uri="{FF2B5EF4-FFF2-40B4-BE49-F238E27FC236}">
                <a16:creationId xmlns:a16="http://schemas.microsoft.com/office/drawing/2014/main" id="{3984FF49-BE4B-E987-0290-490B88A2FB52}"/>
              </a:ext>
            </a:extLst>
          </p:cNvPr>
          <p:cNvSpPr/>
          <p:nvPr/>
        </p:nvSpPr>
        <p:spPr>
          <a:xfrm>
            <a:off x="1926669" y="2112607"/>
            <a:ext cx="7727640" cy="3187026"/>
          </a:xfrm>
          <a:prstGeom prst="rect">
            <a:avLst/>
          </a:prstGeom>
        </p:spPr>
        <p:txBody>
          <a:bodyPr>
            <a:spAutoFit/>
          </a:bodyPr>
          <a:lstStyle/>
          <a:p>
            <a:pPr algn="just">
              <a:lnSpc>
                <a:spcPct val="115000"/>
              </a:lnSpc>
              <a:spcBef>
                <a:spcPts val="566"/>
              </a:spcBef>
              <a:spcAft>
                <a:spcPts val="566"/>
              </a:spcAft>
              <a:defRPr/>
            </a:pPr>
            <a:r>
              <a:rPr lang="en-GB" sz="1887" dirty="0">
                <a:latin typeface="Arial" panose="020B0604020202020204" pitchFamily="34" charset="0"/>
                <a:ea typeface="Times New Roman" panose="02020603050405020304" pitchFamily="18" charset="0"/>
                <a:cs typeface="Times New Roman" panose="02020603050405020304" pitchFamily="18" charset="0"/>
              </a:rPr>
              <a:t>The world’s most comprehensive facilities management solution for managing space totalling thousands to millions of square feet or meters.</a:t>
            </a:r>
            <a:endParaRPr lang="en-ZA" sz="1887" dirty="0">
              <a:latin typeface="Arial" panose="020B0604020202020204" pitchFamily="34" charset="0"/>
              <a:ea typeface="Times New Roman" panose="02020603050405020304" pitchFamily="18" charset="0"/>
              <a:cs typeface="Times New Roman" panose="02020603050405020304" pitchFamily="18" charset="0"/>
            </a:endParaRPr>
          </a:p>
          <a:p>
            <a:pPr marL="323492" indent="-323492" algn="just">
              <a:lnSpc>
                <a:spcPct val="115000"/>
              </a:lnSpc>
              <a:spcBef>
                <a:spcPts val="283"/>
              </a:spcBef>
              <a:spcAft>
                <a:spcPts val="283"/>
              </a:spcAft>
              <a:buSzPts val="1100"/>
              <a:buFont typeface="Symbol" panose="05050102010706020507" pitchFamily="18" charset="2"/>
              <a:buChar char=""/>
              <a:tabLst>
                <a:tab pos="764399" algn="l"/>
              </a:tabLst>
              <a:defRPr/>
            </a:pPr>
            <a:r>
              <a:rPr lang="en-GB" sz="1887" dirty="0">
                <a:latin typeface="Arial" panose="020B0604020202020204" pitchFamily="34" charset="0"/>
                <a:ea typeface="Times New Roman" panose="02020603050405020304" pitchFamily="18" charset="0"/>
                <a:cs typeface="Times New Roman" panose="02020603050405020304" pitchFamily="18" charset="0"/>
              </a:rPr>
              <a:t>Modular structure lets you choose only those applications you need;</a:t>
            </a:r>
            <a:endParaRPr lang="en-ZA" sz="1887" dirty="0">
              <a:latin typeface="Arial" panose="020B0604020202020204" pitchFamily="34" charset="0"/>
              <a:ea typeface="Times New Roman" panose="02020603050405020304" pitchFamily="18" charset="0"/>
              <a:cs typeface="Times New Roman" panose="02020603050405020304" pitchFamily="18" charset="0"/>
            </a:endParaRPr>
          </a:p>
          <a:p>
            <a:pPr marL="323492" indent="-323492" algn="just">
              <a:lnSpc>
                <a:spcPct val="115000"/>
              </a:lnSpc>
              <a:spcBef>
                <a:spcPts val="283"/>
              </a:spcBef>
              <a:spcAft>
                <a:spcPts val="283"/>
              </a:spcAft>
              <a:buSzPts val="1100"/>
              <a:buFont typeface="Symbol" panose="05050102010706020507" pitchFamily="18" charset="2"/>
              <a:buChar char=""/>
              <a:tabLst>
                <a:tab pos="764399" algn="l"/>
              </a:tabLst>
              <a:defRPr/>
            </a:pPr>
            <a:r>
              <a:rPr lang="en-GB" sz="1887" dirty="0">
                <a:latin typeface="Arial" panose="020B0604020202020204" pitchFamily="34" charset="0"/>
                <a:ea typeface="Times New Roman" panose="02020603050405020304" pitchFamily="18" charset="0"/>
                <a:cs typeface="Times New Roman" panose="02020603050405020304" pitchFamily="18" charset="0"/>
              </a:rPr>
              <a:t>Supports an unlimited number of concurrent users and sites;</a:t>
            </a:r>
            <a:endParaRPr lang="en-ZA" sz="1887" dirty="0">
              <a:latin typeface="Arial" panose="020B0604020202020204" pitchFamily="34" charset="0"/>
              <a:ea typeface="Times New Roman" panose="02020603050405020304" pitchFamily="18" charset="0"/>
              <a:cs typeface="Times New Roman" panose="02020603050405020304" pitchFamily="18" charset="0"/>
            </a:endParaRPr>
          </a:p>
          <a:p>
            <a:pPr marL="323492" indent="-323492" algn="just">
              <a:lnSpc>
                <a:spcPct val="115000"/>
              </a:lnSpc>
              <a:spcBef>
                <a:spcPts val="283"/>
              </a:spcBef>
              <a:spcAft>
                <a:spcPts val="283"/>
              </a:spcAft>
              <a:buSzPts val="1100"/>
              <a:buFont typeface="Symbol" panose="05050102010706020507" pitchFamily="18" charset="2"/>
              <a:buChar char=""/>
              <a:tabLst>
                <a:tab pos="764399" algn="l"/>
              </a:tabLst>
              <a:defRPr/>
            </a:pPr>
            <a:r>
              <a:rPr lang="en-GB" sz="1887" dirty="0">
                <a:latin typeface="Arial" panose="020B0604020202020204" pitchFamily="34" charset="0"/>
                <a:ea typeface="Times New Roman" panose="02020603050405020304" pitchFamily="18" charset="0"/>
                <a:cs typeface="Times New Roman" panose="02020603050405020304" pitchFamily="18" charset="0"/>
              </a:rPr>
              <a:t>Sized for an unlimited number of unique records;</a:t>
            </a:r>
            <a:endParaRPr lang="en-ZA" sz="1887" dirty="0">
              <a:latin typeface="Arial" panose="020B0604020202020204" pitchFamily="34" charset="0"/>
              <a:ea typeface="Times New Roman" panose="02020603050405020304" pitchFamily="18" charset="0"/>
              <a:cs typeface="Times New Roman" panose="02020603050405020304" pitchFamily="18" charset="0"/>
            </a:endParaRPr>
          </a:p>
          <a:p>
            <a:pPr marL="323492" indent="-323492" algn="just">
              <a:lnSpc>
                <a:spcPct val="115000"/>
              </a:lnSpc>
              <a:spcBef>
                <a:spcPts val="283"/>
              </a:spcBef>
              <a:spcAft>
                <a:spcPts val="283"/>
              </a:spcAft>
              <a:buSzPts val="1100"/>
              <a:buFont typeface="Symbol" panose="05050102010706020507" pitchFamily="18" charset="2"/>
              <a:buChar char=""/>
              <a:tabLst>
                <a:tab pos="764399" algn="l"/>
              </a:tabLst>
              <a:defRPr/>
            </a:pPr>
            <a:r>
              <a:rPr lang="en-GB" sz="1887" dirty="0">
                <a:latin typeface="Arial" panose="020B0604020202020204" pitchFamily="34" charset="0"/>
                <a:ea typeface="Times New Roman" panose="02020603050405020304" pitchFamily="18" charset="0"/>
                <a:cs typeface="Times New Roman" panose="02020603050405020304" pitchFamily="18" charset="0"/>
              </a:rPr>
              <a:t>Supports native Microsoft SQL Server, Oracle, and Sybase; and</a:t>
            </a:r>
            <a:endParaRPr lang="en-ZA" sz="1887" dirty="0">
              <a:latin typeface="Arial" panose="020B0604020202020204" pitchFamily="34" charset="0"/>
              <a:ea typeface="Times New Roman" panose="02020603050405020304" pitchFamily="18" charset="0"/>
              <a:cs typeface="Times New Roman" panose="02020603050405020304" pitchFamily="18" charset="0"/>
            </a:endParaRPr>
          </a:p>
          <a:p>
            <a:pPr marL="323492" indent="-323492" algn="just">
              <a:lnSpc>
                <a:spcPct val="115000"/>
              </a:lnSpc>
              <a:spcBef>
                <a:spcPts val="283"/>
              </a:spcBef>
              <a:spcAft>
                <a:spcPts val="283"/>
              </a:spcAft>
              <a:buSzPts val="1100"/>
              <a:buFont typeface="Symbol" panose="05050102010706020507" pitchFamily="18" charset="2"/>
              <a:buChar char=""/>
              <a:tabLst>
                <a:tab pos="764399" algn="l"/>
              </a:tabLst>
              <a:defRPr/>
            </a:pPr>
            <a:r>
              <a:rPr lang="en-GB" sz="1887" dirty="0">
                <a:latin typeface="Arial" panose="020B0604020202020204" pitchFamily="34" charset="0"/>
                <a:ea typeface="Times New Roman" panose="02020603050405020304" pitchFamily="18" charset="0"/>
                <a:cs typeface="Times New Roman" panose="02020603050405020304" pitchFamily="18" charset="0"/>
              </a:rPr>
              <a:t>Web-enabled by adding ARCHIBUS Web Central.</a:t>
            </a:r>
            <a:endParaRPr lang="en-ZA" sz="1887" dirty="0">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4483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a:extLst>
              <a:ext uri="{FF2B5EF4-FFF2-40B4-BE49-F238E27FC236}">
                <a16:creationId xmlns:a16="http://schemas.microsoft.com/office/drawing/2014/main" id="{77A765DE-9A81-A8CC-CAE9-C21E8176C58A}"/>
              </a:ext>
            </a:extLst>
          </p:cNvPr>
          <p:cNvSpPr>
            <a:spLocks noGrp="1"/>
          </p:cNvSpPr>
          <p:nvPr>
            <p:ph type="title"/>
          </p:nvPr>
        </p:nvSpPr>
        <p:spPr bwMode="auto">
          <a:xfrm>
            <a:off x="1556761" y="802201"/>
            <a:ext cx="8097548" cy="13119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r>
              <a:rPr lang="en-US" altLang="en-US" sz="3019" b="1" dirty="0"/>
              <a:t>The DPWI ERP System</a:t>
            </a:r>
            <a:br>
              <a:rPr lang="en-US" altLang="en-US" sz="3019" b="1" dirty="0"/>
            </a:br>
            <a:r>
              <a:rPr lang="en-US" altLang="en-US" sz="3019" b="1" dirty="0"/>
              <a:t>  </a:t>
            </a:r>
            <a:br>
              <a:rPr lang="en-US" altLang="en-US" sz="3019" b="1" dirty="0"/>
            </a:br>
            <a:endParaRPr lang="en-US" altLang="en-US" sz="3019" b="1" dirty="0"/>
          </a:p>
        </p:txBody>
      </p:sp>
      <p:sp>
        <p:nvSpPr>
          <p:cNvPr id="2" name="TextBox 1">
            <a:extLst>
              <a:ext uri="{FF2B5EF4-FFF2-40B4-BE49-F238E27FC236}">
                <a16:creationId xmlns:a16="http://schemas.microsoft.com/office/drawing/2014/main" id="{CE13FF3B-D13F-5B9C-744B-597E72D246E0}"/>
              </a:ext>
            </a:extLst>
          </p:cNvPr>
          <p:cNvSpPr txBox="1"/>
          <p:nvPr/>
        </p:nvSpPr>
        <p:spPr>
          <a:xfrm>
            <a:off x="356507" y="1845128"/>
            <a:ext cx="11478985" cy="3693319"/>
          </a:xfrm>
          <a:prstGeom prst="rect">
            <a:avLst/>
          </a:prstGeom>
          <a:noFill/>
        </p:spPr>
        <p:txBody>
          <a:bodyPr wrap="square" rtlCol="0">
            <a:spAutoFit/>
          </a:bodyPr>
          <a:lstStyle/>
          <a:p>
            <a:pPr marL="285750" indent="-285750">
              <a:buFont typeface="Arial" panose="020B0604020202020204" pitchFamily="34" charset="0"/>
              <a:buChar char="•"/>
            </a:pPr>
            <a:r>
              <a:rPr lang="en-US" dirty="0"/>
              <a:t>The AS-IS DPWI IT Application Landscape is characterized by siloed and a combination of old modern systems across business functions.  (Slide 16 -19).These system as they are currently, do not support business to perform at its optimal. There are other legacy system like BAS, PMIS, WCS, etc. The aim is to replace these old systems with </a:t>
            </a:r>
            <a:r>
              <a:rPr lang="en-US" dirty="0" err="1"/>
              <a:t>Archibus</a:t>
            </a:r>
            <a:r>
              <a:rPr lang="en-US" dirty="0"/>
              <a:t> and SAGE.</a:t>
            </a:r>
          </a:p>
          <a:p>
            <a:pPr marL="285750" indent="-285750">
              <a:buFont typeface="Arial" panose="020B0604020202020204" pitchFamily="34" charset="0"/>
              <a:buChar char="•"/>
            </a:pPr>
            <a:r>
              <a:rPr lang="en-US" dirty="0"/>
              <a:t>Therefore , the core application which make the ERP System are </a:t>
            </a:r>
            <a:r>
              <a:rPr lang="en-US" dirty="0" err="1"/>
              <a:t>Archibus</a:t>
            </a:r>
            <a:r>
              <a:rPr lang="en-US" dirty="0"/>
              <a:t> and SAGE. (Slide 20)</a:t>
            </a:r>
          </a:p>
          <a:p>
            <a:pPr marL="285750" indent="-285750">
              <a:buFont typeface="Arial" panose="020B0604020202020204" pitchFamily="34" charset="0"/>
              <a:buChar char="•"/>
            </a:pPr>
            <a:r>
              <a:rPr lang="en-US" dirty="0" err="1"/>
              <a:t>Archibus</a:t>
            </a:r>
            <a:r>
              <a:rPr lang="en-US" dirty="0"/>
              <a:t> does the business transactions (Capturing and verification of leases) and SAGE makes the payments. There is a secured and automated communication layer between the two systems. The ERP Strategy implementation is aimed at supporting the legislative alignment with GIAMA (slide 21)</a:t>
            </a:r>
          </a:p>
          <a:p>
            <a:pPr marL="285750" indent="-285750">
              <a:buFont typeface="Arial" panose="020B0604020202020204" pitchFamily="34" charset="0"/>
              <a:buChar char="•"/>
            </a:pPr>
            <a:r>
              <a:rPr lang="en-US" dirty="0"/>
              <a:t>Further, the </a:t>
            </a:r>
            <a:r>
              <a:rPr lang="en-US" dirty="0" err="1"/>
              <a:t>Archibus</a:t>
            </a:r>
            <a:r>
              <a:rPr lang="en-US" dirty="0"/>
              <a:t> ERP solution is aimed at support the core business of DPWI (Slide 22).</a:t>
            </a:r>
          </a:p>
          <a:p>
            <a:pPr marL="285750" indent="-285750">
              <a:buFont typeface="Arial" panose="020B0604020202020204" pitchFamily="34" charset="0"/>
              <a:buChar char="•"/>
            </a:pPr>
            <a:r>
              <a:rPr lang="en-US" dirty="0"/>
              <a:t>Further, the </a:t>
            </a:r>
            <a:r>
              <a:rPr lang="en-US" dirty="0" err="1"/>
              <a:t>Archibus</a:t>
            </a:r>
            <a:r>
              <a:rPr lang="en-US" dirty="0"/>
              <a:t> System Full suite capabilities is covered in slide 24 to 29.</a:t>
            </a:r>
          </a:p>
          <a:p>
            <a:pPr marL="285750" indent="-285750">
              <a:buFont typeface="Arial" panose="020B0604020202020204" pitchFamily="34" charset="0"/>
              <a:buChar char="•"/>
            </a:pPr>
            <a:r>
              <a:rPr lang="en-US" dirty="0"/>
              <a:t>Further, the SAGE System Full suite capabilities is covered in slide 31 to 34.</a:t>
            </a:r>
          </a:p>
          <a:p>
            <a:pPr marL="285750" indent="-285750">
              <a:buFont typeface="Arial" panose="020B0604020202020204" pitchFamily="34" charset="0"/>
              <a:buChar char="•"/>
            </a:pPr>
            <a:r>
              <a:rPr lang="en-US" dirty="0"/>
              <a:t>Slide 30 is the Architecture Model which brings together all the systems, policies, business processes and legislation</a:t>
            </a:r>
          </a:p>
        </p:txBody>
      </p:sp>
    </p:spTree>
    <p:extLst>
      <p:ext uri="{BB962C8B-B14F-4D97-AF65-F5344CB8AC3E}">
        <p14:creationId xmlns:p14="http://schemas.microsoft.com/office/powerpoint/2010/main" val="333418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A5FD8-DE19-CC66-0E9B-88B563829395}"/>
              </a:ext>
            </a:extLst>
          </p:cNvPr>
          <p:cNvSpPr>
            <a:spLocks noGrp="1"/>
          </p:cNvSpPr>
          <p:nvPr>
            <p:ph type="title"/>
          </p:nvPr>
        </p:nvSpPr>
        <p:spPr>
          <a:xfrm>
            <a:off x="2083917" y="409829"/>
            <a:ext cx="8433012" cy="1006390"/>
          </a:xfrm>
        </p:spPr>
        <p:txBody>
          <a:bodyPr>
            <a:normAutofit/>
          </a:bodyPr>
          <a:lstStyle/>
          <a:p>
            <a:pPr>
              <a:defRPr/>
            </a:pPr>
            <a:r>
              <a:rPr lang="en-ZA" sz="2396" b="1" dirty="0"/>
              <a:t>PMTE APPLICATIONS</a:t>
            </a:r>
            <a:r>
              <a:rPr lang="en-ZA" sz="2396" dirty="0"/>
              <a:t/>
            </a:r>
            <a:br>
              <a:rPr lang="en-ZA" sz="2396" dirty="0"/>
            </a:br>
            <a:r>
              <a:rPr lang="en-ZA" sz="2396" dirty="0"/>
              <a:t>conceptual landscape (planning)</a:t>
            </a:r>
            <a:endParaRPr lang="en-US" sz="2396" dirty="0"/>
          </a:p>
        </p:txBody>
      </p:sp>
      <p:graphicFrame>
        <p:nvGraphicFramePr>
          <p:cNvPr id="5" name="Diagram 4">
            <a:extLst>
              <a:ext uri="{FF2B5EF4-FFF2-40B4-BE49-F238E27FC236}">
                <a16:creationId xmlns:a16="http://schemas.microsoft.com/office/drawing/2014/main" id="{5BE12DD4-0B75-0CD5-663C-6FDEB2B02ED9}"/>
              </a:ext>
            </a:extLst>
          </p:cNvPr>
          <p:cNvGraphicFramePr/>
          <p:nvPr/>
        </p:nvGraphicFramePr>
        <p:xfrm>
          <a:off x="1836717" y="2145596"/>
          <a:ext cx="8464655" cy="3709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026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231C2-8AC2-542A-FA57-C9731A307722}"/>
              </a:ext>
            </a:extLst>
          </p:cNvPr>
          <p:cNvSpPr>
            <a:spLocks noGrp="1"/>
          </p:cNvSpPr>
          <p:nvPr>
            <p:ph type="title"/>
          </p:nvPr>
        </p:nvSpPr>
        <p:spPr>
          <a:xfrm>
            <a:off x="2083917" y="409829"/>
            <a:ext cx="8433012" cy="1006390"/>
          </a:xfrm>
        </p:spPr>
        <p:txBody>
          <a:bodyPr>
            <a:normAutofit/>
          </a:bodyPr>
          <a:lstStyle/>
          <a:p>
            <a:pPr>
              <a:defRPr/>
            </a:pPr>
            <a:r>
              <a:rPr lang="en-ZA" sz="2396" b="1" dirty="0"/>
              <a:t>PMTE APPLICATIONS</a:t>
            </a:r>
            <a:r>
              <a:rPr lang="en-ZA" sz="2396" dirty="0"/>
              <a:t/>
            </a:r>
            <a:br>
              <a:rPr lang="en-ZA" sz="2396" dirty="0"/>
            </a:br>
            <a:r>
              <a:rPr lang="en-ZA" sz="2396" dirty="0"/>
              <a:t>conceptual landscape (execution)</a:t>
            </a:r>
            <a:endParaRPr lang="en-US" sz="2396" dirty="0"/>
          </a:p>
        </p:txBody>
      </p:sp>
      <p:graphicFrame>
        <p:nvGraphicFramePr>
          <p:cNvPr id="7" name="Diagram 6">
            <a:extLst>
              <a:ext uri="{FF2B5EF4-FFF2-40B4-BE49-F238E27FC236}">
                <a16:creationId xmlns:a16="http://schemas.microsoft.com/office/drawing/2014/main" id="{E175E4DB-09B2-E3E4-F707-AA49A7A7DE80}"/>
              </a:ext>
            </a:extLst>
          </p:cNvPr>
          <p:cNvGraphicFramePr/>
          <p:nvPr/>
        </p:nvGraphicFramePr>
        <p:xfrm>
          <a:off x="1782802" y="1984381"/>
          <a:ext cx="8626400" cy="39786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8407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F5167-0E72-EE42-2512-862CA8C671DE}"/>
              </a:ext>
            </a:extLst>
          </p:cNvPr>
          <p:cNvSpPr>
            <a:spLocks noGrp="1"/>
          </p:cNvSpPr>
          <p:nvPr>
            <p:ph type="title"/>
          </p:nvPr>
        </p:nvSpPr>
        <p:spPr>
          <a:xfrm>
            <a:off x="2083917" y="463743"/>
            <a:ext cx="8433012" cy="1006390"/>
          </a:xfrm>
        </p:spPr>
        <p:txBody>
          <a:bodyPr>
            <a:normAutofit/>
          </a:bodyPr>
          <a:lstStyle/>
          <a:p>
            <a:pPr>
              <a:defRPr/>
            </a:pPr>
            <a:r>
              <a:rPr lang="en-ZA" sz="2396" b="1" dirty="0"/>
              <a:t>PMTE APPLICATIONS</a:t>
            </a:r>
            <a:r>
              <a:rPr lang="en-ZA" sz="2396" dirty="0"/>
              <a:t/>
            </a:r>
            <a:br>
              <a:rPr lang="en-ZA" sz="2396" dirty="0"/>
            </a:br>
            <a:r>
              <a:rPr lang="en-ZA" sz="2396" dirty="0"/>
              <a:t>conceptual landscape (SCM)</a:t>
            </a:r>
            <a:endParaRPr lang="en-US" sz="2396" dirty="0"/>
          </a:p>
        </p:txBody>
      </p:sp>
      <p:graphicFrame>
        <p:nvGraphicFramePr>
          <p:cNvPr id="7" name="Diagram 6">
            <a:extLst>
              <a:ext uri="{FF2B5EF4-FFF2-40B4-BE49-F238E27FC236}">
                <a16:creationId xmlns:a16="http://schemas.microsoft.com/office/drawing/2014/main" id="{415C0624-D67F-FA3B-8038-C27F2B1048E1}"/>
              </a:ext>
            </a:extLst>
          </p:cNvPr>
          <p:cNvGraphicFramePr/>
          <p:nvPr>
            <p:extLst>
              <p:ext uri="{D42A27DB-BD31-4B8C-83A1-F6EECF244321}">
                <p14:modId xmlns:p14="http://schemas.microsoft.com/office/powerpoint/2010/main" val="6470518"/>
              </p:ext>
            </p:extLst>
          </p:nvPr>
        </p:nvGraphicFramePr>
        <p:xfrm>
          <a:off x="2268034" y="1854926"/>
          <a:ext cx="7616817" cy="46158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31530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D18F8-749C-520A-391F-5CC4AA7A762C}"/>
              </a:ext>
            </a:extLst>
          </p:cNvPr>
          <p:cNvSpPr>
            <a:spLocks noGrp="1"/>
          </p:cNvSpPr>
          <p:nvPr>
            <p:ph type="title"/>
          </p:nvPr>
        </p:nvSpPr>
        <p:spPr>
          <a:xfrm>
            <a:off x="708007" y="0"/>
            <a:ext cx="10351444" cy="1181610"/>
          </a:xfrm>
        </p:spPr>
        <p:txBody>
          <a:bodyPr>
            <a:normAutofit/>
          </a:bodyPr>
          <a:lstStyle/>
          <a:p>
            <a:pPr>
              <a:defRPr/>
            </a:pPr>
            <a:r>
              <a:rPr lang="en-ZA" sz="2396" b="1" dirty="0"/>
              <a:t>PMTE APPLICATIONS</a:t>
            </a:r>
            <a:r>
              <a:rPr lang="en-ZA" sz="2396" dirty="0"/>
              <a:t/>
            </a:r>
            <a:br>
              <a:rPr lang="en-ZA" sz="2396" dirty="0"/>
            </a:br>
            <a:r>
              <a:rPr lang="en-ZA" sz="2396" dirty="0"/>
              <a:t>conceptual landscape (finance)</a:t>
            </a:r>
            <a:endParaRPr lang="en-US" sz="2396" dirty="0"/>
          </a:p>
        </p:txBody>
      </p:sp>
      <p:graphicFrame>
        <p:nvGraphicFramePr>
          <p:cNvPr id="7" name="Diagram 6">
            <a:extLst>
              <a:ext uri="{FF2B5EF4-FFF2-40B4-BE49-F238E27FC236}">
                <a16:creationId xmlns:a16="http://schemas.microsoft.com/office/drawing/2014/main" id="{19575883-33E7-E851-8050-2FC9C6EB4842}"/>
              </a:ext>
            </a:extLst>
          </p:cNvPr>
          <p:cNvGraphicFramePr/>
          <p:nvPr/>
        </p:nvGraphicFramePr>
        <p:xfrm>
          <a:off x="1728886" y="1984379"/>
          <a:ext cx="8788145" cy="39247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1953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4151" b="1" dirty="0">
                <a:latin typeface="Arial Narrow" pitchFamily="34" charset="0"/>
              </a:rPr>
              <a:t>Contents</a:t>
            </a:r>
            <a:r>
              <a:rPr lang="en-ZA" b="1" dirty="0">
                <a:latin typeface="Arial Narrow" pitchFamily="34" charset="0"/>
              </a:rPr>
              <a:t/>
            </a:r>
            <a:br>
              <a:rPr lang="en-ZA" b="1" dirty="0">
                <a:latin typeface="Arial Narrow" pitchFamily="34" charset="0"/>
              </a:rPr>
            </a:br>
            <a:endParaRPr lang="en-ZA" dirty="0"/>
          </a:p>
        </p:txBody>
      </p:sp>
      <p:sp>
        <p:nvSpPr>
          <p:cNvPr id="3" name="Footer Placeholder 2">
            <a:extLst>
              <a:ext uri="{FF2B5EF4-FFF2-40B4-BE49-F238E27FC236}">
                <a16:creationId xmlns:a16="http://schemas.microsoft.com/office/drawing/2014/main" id="{354D7EF8-8F2C-F6DA-07F3-F3625F22B4EA}"/>
              </a:ext>
            </a:extLst>
          </p:cNvPr>
          <p:cNvSpPr>
            <a:spLocks noGrp="1"/>
          </p:cNvSpPr>
          <p:nvPr>
            <p:ph type="ftr" sz="quarter" idx="11"/>
          </p:nvPr>
        </p:nvSpPr>
        <p:spPr/>
        <p:txBody>
          <a:bodyPr/>
          <a:lstStyle/>
          <a:p>
            <a:endParaRPr lang="en-GB" dirty="0">
              <a:solidFill>
                <a:srgbClr val="F07F09"/>
              </a:solidFill>
            </a:endParaRPr>
          </a:p>
        </p:txBody>
      </p:sp>
      <p:sp>
        <p:nvSpPr>
          <p:cNvPr id="7" name="Content Placeholder 6">
            <a:extLst>
              <a:ext uri="{FF2B5EF4-FFF2-40B4-BE49-F238E27FC236}">
                <a16:creationId xmlns:a16="http://schemas.microsoft.com/office/drawing/2014/main" id="{94122547-CF56-EA55-86C1-360A0D17E48A}"/>
              </a:ext>
            </a:extLst>
          </p:cNvPr>
          <p:cNvSpPr>
            <a:spLocks noGrp="1"/>
          </p:cNvSpPr>
          <p:nvPr>
            <p:ph idx="1"/>
          </p:nvPr>
        </p:nvSpPr>
        <p:spPr>
          <a:xfrm>
            <a:off x="1404278" y="1706478"/>
            <a:ext cx="8689064" cy="3953676"/>
          </a:xfrm>
        </p:spPr>
        <p:txBody>
          <a:bodyPr/>
          <a:lstStyle/>
          <a:p>
            <a:endParaRPr lang="en-US" dirty="0"/>
          </a:p>
        </p:txBody>
      </p:sp>
      <p:graphicFrame>
        <p:nvGraphicFramePr>
          <p:cNvPr id="5" name="Content Placeholder 3">
            <a:extLst>
              <a:ext uri="{FF2B5EF4-FFF2-40B4-BE49-F238E27FC236}">
                <a16:creationId xmlns:a16="http://schemas.microsoft.com/office/drawing/2014/main" id="{900610B5-737E-5E96-B9A4-39F018006DB0}"/>
              </a:ext>
            </a:extLst>
          </p:cNvPr>
          <p:cNvGraphicFramePr>
            <a:graphicFrameLocks/>
          </p:cNvGraphicFramePr>
          <p:nvPr>
            <p:extLst>
              <p:ext uri="{D42A27DB-BD31-4B8C-83A1-F6EECF244321}">
                <p14:modId xmlns:p14="http://schemas.microsoft.com/office/powerpoint/2010/main" val="2105279232"/>
              </p:ext>
            </p:extLst>
          </p:nvPr>
        </p:nvGraphicFramePr>
        <p:xfrm>
          <a:off x="64117" y="1566151"/>
          <a:ext cx="6105672" cy="5107239"/>
        </p:xfrm>
        <a:graphic>
          <a:graphicData uri="http://schemas.openxmlformats.org/drawingml/2006/table">
            <a:tbl>
              <a:tblPr firstRow="1" bandRow="1">
                <a:tableStyleId>{5C22544A-7EE6-4342-B048-85BDC9FD1C3A}</a:tableStyleId>
              </a:tblPr>
              <a:tblGrid>
                <a:gridCol w="590446">
                  <a:extLst>
                    <a:ext uri="{9D8B030D-6E8A-4147-A177-3AD203B41FA5}">
                      <a16:colId xmlns:a16="http://schemas.microsoft.com/office/drawing/2014/main" val="20000"/>
                    </a:ext>
                  </a:extLst>
                </a:gridCol>
                <a:gridCol w="4487777">
                  <a:extLst>
                    <a:ext uri="{9D8B030D-6E8A-4147-A177-3AD203B41FA5}">
                      <a16:colId xmlns:a16="http://schemas.microsoft.com/office/drawing/2014/main" val="20001"/>
                    </a:ext>
                  </a:extLst>
                </a:gridCol>
                <a:gridCol w="1027449">
                  <a:extLst>
                    <a:ext uri="{9D8B030D-6E8A-4147-A177-3AD203B41FA5}">
                      <a16:colId xmlns:a16="http://schemas.microsoft.com/office/drawing/2014/main" val="20002"/>
                    </a:ext>
                  </a:extLst>
                </a:gridCol>
              </a:tblGrid>
              <a:tr h="346918">
                <a:tc>
                  <a:txBody>
                    <a:bodyPr/>
                    <a:lstStyle/>
                    <a:p>
                      <a:pPr algn="ctr">
                        <a:lnSpc>
                          <a:spcPct val="115000"/>
                        </a:lnSpc>
                      </a:pPr>
                      <a:r>
                        <a:rPr lang="en-ZA" sz="1500" b="1" kern="1200" dirty="0">
                          <a:solidFill>
                            <a:schemeClr val="dk1"/>
                          </a:solidFill>
                          <a:effectLst/>
                        </a:rPr>
                        <a:t>NO</a:t>
                      </a:r>
                      <a:endParaRPr lang="en-ZA" sz="1500" b="1" kern="1200" dirty="0">
                        <a:solidFill>
                          <a:schemeClr val="dk1"/>
                        </a:solidFill>
                        <a:effectLst/>
                        <a:latin typeface="+mj-lt"/>
                        <a:ea typeface="Calibri"/>
                        <a:cs typeface="Times New Roman"/>
                      </a:endParaRPr>
                    </a:p>
                  </a:txBody>
                  <a:tcPr marL="50234" marR="50234" marT="25124" marB="25124"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500" b="1" kern="1200" dirty="0">
                          <a:solidFill>
                            <a:schemeClr val="dk1"/>
                          </a:solidFill>
                          <a:effectLst/>
                        </a:rPr>
                        <a:t>ITEM</a:t>
                      </a:r>
                      <a:endParaRPr lang="en-ZA" sz="1500" b="1" kern="1200" dirty="0">
                        <a:solidFill>
                          <a:schemeClr val="dk1"/>
                        </a:solidFill>
                        <a:effectLst/>
                        <a:latin typeface="+mj-lt"/>
                        <a:ea typeface="Calibri"/>
                        <a:cs typeface="Times New Roman"/>
                      </a:endParaRPr>
                    </a:p>
                  </a:txBody>
                  <a:tcPr marL="50234" marR="50234" marT="25124" marB="25124"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500" b="1" kern="1200">
                          <a:solidFill>
                            <a:schemeClr val="dk1"/>
                          </a:solidFill>
                          <a:effectLst/>
                        </a:rPr>
                        <a:t>SLIDE</a:t>
                      </a:r>
                      <a:endParaRPr lang="en-ZA" sz="1500" b="1" kern="1200" dirty="0">
                        <a:solidFill>
                          <a:schemeClr val="dk1"/>
                        </a:solidFill>
                        <a:effectLst/>
                        <a:latin typeface="+mj-lt"/>
                        <a:ea typeface="Calibri"/>
                        <a:cs typeface="Times New Roman"/>
                      </a:endParaRPr>
                    </a:p>
                  </a:txBody>
                  <a:tcPr marL="50234" marR="50234" marT="25124" marB="25124" anchor="ctr"/>
                </a:tc>
                <a:extLst>
                  <a:ext uri="{0D108BD9-81ED-4DB2-BD59-A6C34878D82A}">
                    <a16:rowId xmlns:a16="http://schemas.microsoft.com/office/drawing/2014/main" val="10000"/>
                  </a:ext>
                </a:extLst>
              </a:tr>
              <a:tr h="502916">
                <a:tc>
                  <a:txBody>
                    <a:bodyPr/>
                    <a:lstStyle/>
                    <a:p>
                      <a:pPr algn="ctr">
                        <a:lnSpc>
                          <a:spcPct val="115000"/>
                        </a:lnSpc>
                      </a:pPr>
                      <a:r>
                        <a:rPr lang="en-US" sz="1200" b="1" dirty="0">
                          <a:effectLst/>
                        </a:rPr>
                        <a:t>1.</a:t>
                      </a:r>
                      <a:endParaRPr lang="en-ZA" sz="1200" b="1" dirty="0">
                        <a:effectLst/>
                        <a:latin typeface="+mj-lt"/>
                      </a:endParaRPr>
                    </a:p>
                  </a:txBody>
                  <a:tcPr marL="50234" marR="50234" marT="25124" marB="25124"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b="1" kern="1200" dirty="0">
                          <a:solidFill>
                            <a:schemeClr val="dk1"/>
                          </a:solidFill>
                          <a:effectLst/>
                        </a:rPr>
                        <a:t>Table</a:t>
                      </a:r>
                      <a:r>
                        <a:rPr lang="en-ZA" sz="1200" b="1" kern="1200" baseline="0" dirty="0">
                          <a:solidFill>
                            <a:schemeClr val="dk1"/>
                          </a:solidFill>
                          <a:effectLst/>
                        </a:rPr>
                        <a:t> of Contents</a:t>
                      </a:r>
                      <a:endParaRPr lang="en-ZA" sz="1200" b="1" kern="1200" dirty="0">
                        <a:solidFill>
                          <a:schemeClr val="dk1"/>
                        </a:solidFill>
                        <a:effectLst/>
                        <a:latin typeface="+mj-lt"/>
                        <a:ea typeface="Calibri"/>
                        <a:cs typeface="Times New Roman"/>
                      </a:endParaRPr>
                    </a:p>
                  </a:txBody>
                  <a:tcPr marL="50234" marR="50234" marT="25124" marB="25124"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b="1" kern="1200">
                          <a:solidFill>
                            <a:schemeClr val="dk1"/>
                          </a:solidFill>
                          <a:effectLst/>
                        </a:rPr>
                        <a:t>2</a:t>
                      </a:r>
                      <a:endParaRPr lang="en-ZA" sz="1200" b="1" kern="1200" dirty="0">
                        <a:solidFill>
                          <a:schemeClr val="dk1"/>
                        </a:solidFill>
                        <a:effectLst/>
                        <a:latin typeface="+mj-lt"/>
                        <a:ea typeface="Calibri"/>
                        <a:cs typeface="Times New Roman"/>
                      </a:endParaRPr>
                    </a:p>
                  </a:txBody>
                  <a:tcPr marL="50234" marR="50234" marT="25124" marB="25124" anchor="ctr"/>
                </a:tc>
                <a:extLst>
                  <a:ext uri="{0D108BD9-81ED-4DB2-BD59-A6C34878D82A}">
                    <a16:rowId xmlns:a16="http://schemas.microsoft.com/office/drawing/2014/main" val="10001"/>
                  </a:ext>
                </a:extLst>
              </a:tr>
              <a:tr h="386627">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ZA" sz="1200" b="1" dirty="0">
                          <a:effectLst/>
                        </a:rPr>
                        <a:t>2.</a:t>
                      </a:r>
                      <a:endParaRPr lang="en-ZA" sz="1200" b="1" dirty="0">
                        <a:effectLst/>
                        <a:latin typeface="+mj-lt"/>
                        <a:ea typeface="Calibri"/>
                        <a:cs typeface="Times New Roman"/>
                      </a:endParaRPr>
                    </a:p>
                  </a:txBody>
                  <a:tcPr marL="50234" marR="50234" marT="25124" marB="25124"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b="1" kern="1200" dirty="0" smtClean="0">
                          <a:solidFill>
                            <a:schemeClr val="dk1"/>
                          </a:solidFill>
                          <a:effectLst/>
                          <a:latin typeface="+mn-lt"/>
                          <a:ea typeface="+mn-ea"/>
                          <a:cs typeface="+mn-cs"/>
                        </a:rPr>
                        <a:t>Glossary</a:t>
                      </a:r>
                      <a:r>
                        <a:rPr lang="en-ZA" sz="1200" b="1" kern="1200" baseline="0" dirty="0" smtClean="0">
                          <a:solidFill>
                            <a:schemeClr val="dk1"/>
                          </a:solidFill>
                          <a:effectLst/>
                          <a:latin typeface="+mn-lt"/>
                          <a:ea typeface="+mn-ea"/>
                          <a:cs typeface="+mn-cs"/>
                        </a:rPr>
                        <a:t> of terms</a:t>
                      </a:r>
                      <a:endParaRPr lang="en-ZA" sz="1200" b="1" kern="1200" dirty="0">
                        <a:solidFill>
                          <a:schemeClr val="dk1"/>
                        </a:solidFill>
                        <a:effectLst/>
                        <a:latin typeface="+mj-lt"/>
                        <a:ea typeface="Calibri"/>
                        <a:cs typeface="Times New Roman"/>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a:t>3</a:t>
                      </a:r>
                      <a:endParaRPr lang="en-ZA" sz="1200" b="1" dirty="0">
                        <a:latin typeface="+mj-lt"/>
                      </a:endParaRPr>
                    </a:p>
                  </a:txBody>
                  <a:tcPr marL="50234" marR="50234" marT="25124" marB="25124" anchor="ctr"/>
                </a:tc>
                <a:extLst>
                  <a:ext uri="{0D108BD9-81ED-4DB2-BD59-A6C34878D82A}">
                    <a16:rowId xmlns:a16="http://schemas.microsoft.com/office/drawing/2014/main" val="10002"/>
                  </a:ext>
                </a:extLst>
              </a:tr>
              <a:tr h="480461">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ZA" sz="1200" b="1" dirty="0">
                          <a:effectLst/>
                        </a:rPr>
                        <a:t>3.</a:t>
                      </a:r>
                      <a:endParaRPr lang="en-ZA" sz="1200" b="1" dirty="0">
                        <a:effectLst/>
                        <a:latin typeface="+mj-lt"/>
                        <a:ea typeface="Calibri"/>
                        <a:cs typeface="Times New Roman"/>
                      </a:endParaRPr>
                    </a:p>
                  </a:txBody>
                  <a:tcPr marL="50234" marR="50234" marT="25124" marB="25124" anchor="ct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US" sz="1200" b="1" kern="1200" dirty="0">
                          <a:solidFill>
                            <a:schemeClr val="dk1"/>
                          </a:solidFill>
                          <a:effectLst/>
                        </a:rPr>
                        <a:t>Historical</a:t>
                      </a:r>
                      <a:r>
                        <a:rPr lang="en-US" sz="1200" b="1" kern="1200" baseline="0" dirty="0">
                          <a:solidFill>
                            <a:schemeClr val="dk1"/>
                          </a:solidFill>
                          <a:effectLst/>
                        </a:rPr>
                        <a:t> Context</a:t>
                      </a:r>
                      <a:endParaRPr lang="en-ZA" sz="1200" b="1" kern="1200" dirty="0">
                        <a:solidFill>
                          <a:schemeClr val="dk1"/>
                        </a:solidFill>
                        <a:effectLst/>
                        <a:latin typeface="+mj-lt"/>
                        <a:ea typeface="Calibri"/>
                        <a:cs typeface="Times New Roman"/>
                      </a:endParaRPr>
                    </a:p>
                  </a:txBody>
                  <a:tcPr marL="50234" marR="50234" marT="25124" marB="25124" anchor="ct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ZA" sz="1200" b="1" kern="1200" dirty="0">
                          <a:solidFill>
                            <a:schemeClr val="dk1"/>
                          </a:solidFill>
                          <a:effectLst/>
                        </a:rPr>
                        <a:t>4-5</a:t>
                      </a:r>
                      <a:endParaRPr lang="en-ZA" sz="1200" b="1" kern="1200" dirty="0">
                        <a:solidFill>
                          <a:schemeClr val="dk1"/>
                        </a:solidFill>
                        <a:effectLst/>
                        <a:latin typeface="+mj-lt"/>
                        <a:ea typeface="Calibri"/>
                        <a:cs typeface="Times New Roman"/>
                      </a:endParaRPr>
                    </a:p>
                  </a:txBody>
                  <a:tcPr marL="50234" marR="50234" marT="25124" marB="25124" anchor="ctr"/>
                </a:tc>
                <a:extLst>
                  <a:ext uri="{0D108BD9-81ED-4DB2-BD59-A6C34878D82A}">
                    <a16:rowId xmlns:a16="http://schemas.microsoft.com/office/drawing/2014/main" val="10003"/>
                  </a:ext>
                </a:extLst>
              </a:tr>
              <a:tr h="375678">
                <a:tc>
                  <a:txBody>
                    <a:bodyPr/>
                    <a:lstStyle/>
                    <a:p>
                      <a:pPr algn="ctr">
                        <a:lnSpc>
                          <a:spcPct val="115000"/>
                        </a:lnSpc>
                        <a:spcAft>
                          <a:spcPts val="0"/>
                        </a:spcAft>
                      </a:pPr>
                      <a:r>
                        <a:rPr lang="en-ZA" sz="1200" b="1" dirty="0">
                          <a:effectLst/>
                        </a:rPr>
                        <a:t>4.</a:t>
                      </a:r>
                      <a:endParaRPr lang="en-ZA" sz="1200" b="1" dirty="0">
                        <a:effectLst/>
                        <a:latin typeface="+mj-lt"/>
                        <a:ea typeface="Calibri"/>
                        <a:cs typeface="Times New Roman"/>
                      </a:endParaRPr>
                    </a:p>
                  </a:txBody>
                  <a:tcPr marL="50234" marR="50234" marT="25124" marB="25124" anchor="ct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1200" b="1" u="none" strike="noStrike" kern="1200" cap="none" spc="0" normalizeH="0" baseline="0" noProof="0" dirty="0">
                          <a:ln>
                            <a:noFill/>
                          </a:ln>
                          <a:solidFill>
                            <a:prstClr val="black"/>
                          </a:solidFill>
                          <a:effectLst/>
                          <a:uLnTx/>
                          <a:uFillTx/>
                        </a:rPr>
                        <a:t>PMTE </a:t>
                      </a:r>
                      <a:r>
                        <a:rPr kumimoji="0" lang="en-US" sz="1200" b="1" u="none" strike="noStrike" kern="1200" cap="none" spc="0" normalizeH="0" baseline="0" noProof="0" dirty="0" smtClean="0">
                          <a:ln>
                            <a:noFill/>
                          </a:ln>
                          <a:solidFill>
                            <a:prstClr val="black"/>
                          </a:solidFill>
                          <a:effectLst/>
                          <a:uLnTx/>
                          <a:uFillTx/>
                        </a:rPr>
                        <a:t>Strategy</a:t>
                      </a:r>
                      <a:endParaRPr kumimoji="0" lang="en-ZA" sz="1200" b="1" i="0" u="none" strike="noStrike" kern="1200" cap="none" spc="0" normalizeH="0" baseline="0" noProof="0" dirty="0">
                        <a:ln>
                          <a:noFill/>
                        </a:ln>
                        <a:solidFill>
                          <a:prstClr val="black"/>
                        </a:solidFill>
                        <a:effectLst/>
                        <a:uLnTx/>
                        <a:uFillTx/>
                        <a:latin typeface="+mj-lt"/>
                        <a:ea typeface="Calibri"/>
                        <a:cs typeface="Times New Roman"/>
                      </a:endParaRPr>
                    </a:p>
                  </a:txBody>
                  <a:tcPr marL="50234" marR="50234" marT="25124" marB="25124" anchor="ct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ZA" sz="1200" b="1" u="none" strike="noStrike" kern="1200" cap="none" spc="0" normalizeH="0" baseline="0" noProof="0" dirty="0" smtClean="0">
                          <a:ln>
                            <a:noFill/>
                          </a:ln>
                          <a:solidFill>
                            <a:prstClr val="black"/>
                          </a:solidFill>
                          <a:effectLst/>
                          <a:uLnTx/>
                          <a:uFillTx/>
                        </a:rPr>
                        <a:t>6</a:t>
                      </a:r>
                      <a:endParaRPr kumimoji="0" lang="en-ZA" sz="1200" b="1" i="0" u="none" strike="noStrike" kern="1200" cap="none" spc="0" normalizeH="0" baseline="0" noProof="0" dirty="0">
                        <a:ln>
                          <a:noFill/>
                        </a:ln>
                        <a:solidFill>
                          <a:prstClr val="black"/>
                        </a:solidFill>
                        <a:effectLst/>
                        <a:uLnTx/>
                        <a:uFillTx/>
                        <a:latin typeface="+mj-lt"/>
                        <a:ea typeface="Calibri"/>
                        <a:cs typeface="Times New Roman"/>
                      </a:endParaRPr>
                    </a:p>
                  </a:txBody>
                  <a:tcPr marL="50234" marR="50234" marT="25124" marB="25124" anchor="ctr"/>
                </a:tc>
                <a:extLst>
                  <a:ext uri="{0D108BD9-81ED-4DB2-BD59-A6C34878D82A}">
                    <a16:rowId xmlns:a16="http://schemas.microsoft.com/office/drawing/2014/main" val="10004"/>
                  </a:ext>
                </a:extLst>
              </a:tr>
              <a:tr h="505597">
                <a:tc>
                  <a:txBody>
                    <a:bodyPr/>
                    <a:lstStyle/>
                    <a:p>
                      <a:pPr algn="ctr">
                        <a:lnSpc>
                          <a:spcPct val="115000"/>
                        </a:lnSpc>
                        <a:spcAft>
                          <a:spcPts val="0"/>
                        </a:spcAft>
                      </a:pPr>
                      <a:r>
                        <a:rPr lang="en-ZA" sz="1200" b="1" dirty="0">
                          <a:effectLst/>
                        </a:rPr>
                        <a:t>5.</a:t>
                      </a:r>
                      <a:endParaRPr lang="en-ZA" sz="1200" b="1" dirty="0">
                        <a:effectLst/>
                        <a:latin typeface="+mj-lt"/>
                        <a:ea typeface="Calibri"/>
                        <a:cs typeface="Times New Roman"/>
                      </a:endParaRPr>
                    </a:p>
                  </a:txBody>
                  <a:tcPr marL="50234" marR="50234" marT="25124" marB="25124"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u="none" strike="noStrike" kern="0" cap="none" spc="0" normalizeH="0" baseline="0" noProof="0" dirty="0">
                          <a:ln>
                            <a:noFill/>
                          </a:ln>
                          <a:solidFill>
                            <a:sysClr val="windowText" lastClr="000000"/>
                          </a:solidFill>
                          <a:effectLst/>
                          <a:uLnTx/>
                          <a:uFillTx/>
                        </a:rPr>
                        <a:t>From Transversal systems to GRAP compliant systems</a:t>
                      </a:r>
                      <a:endParaRPr kumimoji="0" lang="en-ZA" sz="1200" b="1" i="0" u="none" strike="noStrike" kern="0" cap="none" spc="0" normalizeH="0" baseline="0" noProof="0" dirty="0">
                        <a:ln>
                          <a:noFill/>
                        </a:ln>
                        <a:solidFill>
                          <a:sysClr val="windowText" lastClr="000000"/>
                        </a:solidFill>
                        <a:effectLst/>
                        <a:uLnTx/>
                        <a:uFillTx/>
                        <a:latin typeface="+mj-lt"/>
                        <a:ea typeface="ＭＳ Ｐゴシック" charset="-128"/>
                        <a:cs typeface="Arial" charset="0"/>
                      </a:endParaRPr>
                    </a:p>
                  </a:txBody>
                  <a:tcPr marL="50234" marR="50234" marT="25124" marB="25124"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solidFill>
                            <a:sysClr val="windowText" lastClr="000000"/>
                          </a:solidFill>
                          <a:effectLst/>
                          <a:uLnTx/>
                          <a:uFillTx/>
                          <a:latin typeface="+mn-lt"/>
                          <a:ea typeface="+mn-ea"/>
                          <a:cs typeface="+mn-cs"/>
                        </a:rPr>
                        <a:t>7</a:t>
                      </a:r>
                      <a:endParaRPr kumimoji="0" lang="en-ZA" sz="1200" b="1" i="0" u="none" strike="noStrike" kern="0" cap="none" spc="0" normalizeH="0" baseline="0" noProof="0" dirty="0">
                        <a:ln>
                          <a:noFill/>
                        </a:ln>
                        <a:solidFill>
                          <a:sysClr val="windowText" lastClr="000000"/>
                        </a:solidFill>
                        <a:effectLst/>
                        <a:uLnTx/>
                        <a:uFillTx/>
                        <a:latin typeface="+mj-lt"/>
                        <a:ea typeface="ＭＳ Ｐゴシック" charset="-128"/>
                        <a:cs typeface="Arial" charset="0"/>
                      </a:endParaRPr>
                    </a:p>
                  </a:txBody>
                  <a:tcPr marL="50234" marR="50234" marT="25124" marB="25124" anchor="ctr"/>
                </a:tc>
                <a:extLst>
                  <a:ext uri="{0D108BD9-81ED-4DB2-BD59-A6C34878D82A}">
                    <a16:rowId xmlns:a16="http://schemas.microsoft.com/office/drawing/2014/main" val="10005"/>
                  </a:ext>
                </a:extLst>
              </a:tr>
              <a:tr h="375537">
                <a:tc>
                  <a:txBody>
                    <a:bodyPr/>
                    <a:lstStyle/>
                    <a:p>
                      <a:pPr algn="ctr">
                        <a:lnSpc>
                          <a:spcPct val="115000"/>
                        </a:lnSpc>
                        <a:spcAft>
                          <a:spcPts val="0"/>
                        </a:spcAft>
                      </a:pPr>
                      <a:r>
                        <a:rPr lang="en-ZA" sz="1200" b="1" dirty="0">
                          <a:effectLst/>
                        </a:rPr>
                        <a:t>6.</a:t>
                      </a:r>
                      <a:endParaRPr lang="en-ZA" sz="1200" b="1" dirty="0">
                        <a:effectLst/>
                        <a:latin typeface="+mj-lt"/>
                        <a:ea typeface="Calibri"/>
                        <a:cs typeface="Times New Roman"/>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latin typeface="+mj-lt"/>
                          <a:ea typeface="+mn-ea"/>
                          <a:cs typeface="+mn-cs"/>
                        </a:rPr>
                        <a:t>Operationalising  billing and accounting system</a:t>
                      </a:r>
                      <a:endParaRPr lang="en-ZA" sz="1200" b="1" kern="1200" dirty="0">
                        <a:solidFill>
                          <a:schemeClr val="dk1"/>
                        </a:solidFill>
                        <a:latin typeface="+mj-lt"/>
                        <a:ea typeface="+mn-ea"/>
                        <a:cs typeface="+mn-cs"/>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latin typeface="+mn-lt"/>
                          <a:ea typeface="+mn-ea"/>
                          <a:cs typeface="+mn-cs"/>
                        </a:rPr>
                        <a:t>9</a:t>
                      </a:r>
                      <a:endParaRPr lang="en-ZA" sz="1200" b="1" kern="1200" dirty="0">
                        <a:solidFill>
                          <a:schemeClr val="dk1"/>
                        </a:solidFill>
                        <a:latin typeface="+mj-lt"/>
                        <a:ea typeface="+mn-ea"/>
                        <a:cs typeface="+mn-cs"/>
                      </a:endParaRPr>
                    </a:p>
                  </a:txBody>
                  <a:tcPr marL="50234" marR="50234" marT="25124" marB="25124" anchor="ctr"/>
                </a:tc>
                <a:extLst>
                  <a:ext uri="{0D108BD9-81ED-4DB2-BD59-A6C34878D82A}">
                    <a16:rowId xmlns:a16="http://schemas.microsoft.com/office/drawing/2014/main" val="10006"/>
                  </a:ext>
                </a:extLst>
              </a:tr>
              <a:tr h="388347">
                <a:tc>
                  <a:txBody>
                    <a:bodyPr/>
                    <a:lstStyle/>
                    <a:p>
                      <a:pPr algn="ctr">
                        <a:lnSpc>
                          <a:spcPct val="115000"/>
                        </a:lnSpc>
                        <a:spcAft>
                          <a:spcPts val="0"/>
                        </a:spcAft>
                      </a:pPr>
                      <a:r>
                        <a:rPr lang="en-ZA" sz="1200" b="1" dirty="0" smtClean="0">
                          <a:effectLst/>
                          <a:latin typeface="+mj-lt"/>
                          <a:ea typeface="Calibri"/>
                          <a:cs typeface="Times New Roman"/>
                        </a:rPr>
                        <a:t>7.</a:t>
                      </a:r>
                      <a:endParaRPr lang="en-ZA" sz="1200" b="1" dirty="0">
                        <a:effectLst/>
                        <a:latin typeface="+mj-lt"/>
                        <a:ea typeface="Calibri"/>
                        <a:cs typeface="Times New Roman"/>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dk1"/>
                          </a:solidFill>
                          <a:latin typeface="+mj-lt"/>
                          <a:ea typeface="+mn-ea"/>
                          <a:cs typeface="+mn-cs"/>
                        </a:rPr>
                        <a:t>Operationalising  Archibus</a:t>
                      </a:r>
                      <a:r>
                        <a:rPr lang="en-US" sz="1200" b="1" kern="1200" baseline="0" dirty="0" smtClean="0">
                          <a:solidFill>
                            <a:schemeClr val="dk1"/>
                          </a:solidFill>
                          <a:latin typeface="+mj-lt"/>
                          <a:ea typeface="+mn-ea"/>
                          <a:cs typeface="+mn-cs"/>
                        </a:rPr>
                        <a:t> ERP System</a:t>
                      </a:r>
                      <a:endParaRPr lang="en-US" sz="1200" b="1" kern="1200" dirty="0" smtClean="0">
                        <a:solidFill>
                          <a:schemeClr val="dk1"/>
                        </a:solidFill>
                        <a:latin typeface="+mj-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200" b="1" kern="1200" dirty="0">
                        <a:solidFill>
                          <a:schemeClr val="dk1"/>
                        </a:solidFill>
                        <a:latin typeface="+mj-lt"/>
                        <a:ea typeface="+mn-ea"/>
                        <a:cs typeface="+mn-cs"/>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latin typeface="+mj-lt"/>
                          <a:ea typeface="+mn-ea"/>
                          <a:cs typeface="+mn-cs"/>
                        </a:rPr>
                        <a:t>11-15</a:t>
                      </a:r>
                      <a:endParaRPr lang="en-ZA" sz="1200" b="1" kern="1200" dirty="0">
                        <a:solidFill>
                          <a:schemeClr val="dk1"/>
                        </a:solidFill>
                        <a:latin typeface="+mj-lt"/>
                        <a:ea typeface="+mn-ea"/>
                        <a:cs typeface="+mn-cs"/>
                      </a:endParaRPr>
                    </a:p>
                  </a:txBody>
                  <a:tcPr marL="50234" marR="50234" marT="25124" marB="25124" anchor="ctr"/>
                </a:tc>
                <a:extLst>
                  <a:ext uri="{0D108BD9-81ED-4DB2-BD59-A6C34878D82A}">
                    <a16:rowId xmlns:a16="http://schemas.microsoft.com/office/drawing/2014/main" val="10008"/>
                  </a:ext>
                </a:extLst>
              </a:tr>
              <a:tr h="375537">
                <a:tc>
                  <a:txBody>
                    <a:bodyPr/>
                    <a:lstStyle/>
                    <a:p>
                      <a:pPr algn="ctr">
                        <a:lnSpc>
                          <a:spcPct val="115000"/>
                        </a:lnSpc>
                        <a:spcAft>
                          <a:spcPts val="0"/>
                        </a:spcAft>
                      </a:pPr>
                      <a:r>
                        <a:rPr lang="en-ZA" sz="1200" b="1" dirty="0" smtClean="0">
                          <a:effectLst/>
                          <a:latin typeface="+mj-lt"/>
                          <a:ea typeface="Calibri"/>
                          <a:cs typeface="Times New Roman"/>
                        </a:rPr>
                        <a:t>8 .</a:t>
                      </a:r>
                      <a:endParaRPr lang="en-ZA" sz="1200" b="1" dirty="0">
                        <a:effectLst/>
                        <a:latin typeface="+mj-lt"/>
                        <a:ea typeface="Calibri"/>
                        <a:cs typeface="Times New Roman"/>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latin typeface="+mj-lt"/>
                          <a:ea typeface="+mn-ea"/>
                          <a:cs typeface="+mn-cs"/>
                        </a:rPr>
                        <a:t>PMTE Applications Landscape </a:t>
                      </a:r>
                      <a:endParaRPr lang="en-ZA" sz="1200" b="1" kern="1200" dirty="0">
                        <a:solidFill>
                          <a:schemeClr val="dk1"/>
                        </a:solidFill>
                        <a:latin typeface="+mj-lt"/>
                        <a:ea typeface="+mn-ea"/>
                        <a:cs typeface="+mn-cs"/>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latin typeface="+mj-lt"/>
                          <a:ea typeface="+mn-ea"/>
                          <a:cs typeface="+mn-cs"/>
                        </a:rPr>
                        <a:t>16-20</a:t>
                      </a:r>
                      <a:endParaRPr lang="en-ZA" sz="1200" b="1" kern="1200" dirty="0">
                        <a:solidFill>
                          <a:schemeClr val="dk1"/>
                        </a:solidFill>
                        <a:latin typeface="+mj-lt"/>
                        <a:ea typeface="+mn-ea"/>
                        <a:cs typeface="+mn-cs"/>
                      </a:endParaRPr>
                    </a:p>
                  </a:txBody>
                  <a:tcPr marL="50234" marR="50234" marT="25124" marB="25124" anchor="ctr"/>
                </a:tc>
                <a:extLst>
                  <a:ext uri="{0D108BD9-81ED-4DB2-BD59-A6C34878D82A}">
                    <a16:rowId xmlns:a16="http://schemas.microsoft.com/office/drawing/2014/main" val="10009"/>
                  </a:ext>
                </a:extLst>
              </a:tr>
              <a:tr h="375537">
                <a:tc>
                  <a:txBody>
                    <a:bodyPr/>
                    <a:lstStyle/>
                    <a:p>
                      <a:pPr algn="ctr">
                        <a:lnSpc>
                          <a:spcPct val="115000"/>
                        </a:lnSpc>
                        <a:spcAft>
                          <a:spcPts val="0"/>
                        </a:spcAft>
                      </a:pPr>
                      <a:r>
                        <a:rPr lang="en-ZA" sz="1200" b="1" dirty="0" smtClean="0">
                          <a:effectLst/>
                          <a:latin typeface="+mj-lt"/>
                          <a:ea typeface="Calibri"/>
                          <a:cs typeface="Times New Roman"/>
                        </a:rPr>
                        <a:t>9. </a:t>
                      </a:r>
                      <a:endParaRPr lang="en-ZA" sz="1200" b="1" dirty="0">
                        <a:effectLst/>
                        <a:latin typeface="+mj-lt"/>
                        <a:ea typeface="Calibri"/>
                        <a:cs typeface="Times New Roman"/>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latin typeface="+mj-lt"/>
                          <a:ea typeface="+mn-ea"/>
                          <a:cs typeface="+mn-cs"/>
                        </a:rPr>
                        <a:t>Alignment to GIAMA</a:t>
                      </a:r>
                      <a:endParaRPr lang="en-ZA" sz="1200" b="1" kern="1200" dirty="0">
                        <a:solidFill>
                          <a:schemeClr val="dk1"/>
                        </a:solidFill>
                        <a:latin typeface="+mj-lt"/>
                        <a:ea typeface="+mn-ea"/>
                        <a:cs typeface="+mn-cs"/>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latin typeface="+mj-lt"/>
                          <a:ea typeface="+mn-ea"/>
                          <a:cs typeface="+mn-cs"/>
                        </a:rPr>
                        <a:t>21</a:t>
                      </a:r>
                      <a:endParaRPr lang="en-ZA" sz="1200" b="1" kern="1200" dirty="0">
                        <a:solidFill>
                          <a:schemeClr val="dk1"/>
                        </a:solidFill>
                        <a:latin typeface="+mj-lt"/>
                        <a:ea typeface="+mn-ea"/>
                        <a:cs typeface="+mn-cs"/>
                      </a:endParaRPr>
                    </a:p>
                  </a:txBody>
                  <a:tcPr marL="50234" marR="50234" marT="25124" marB="25124" anchor="ctr"/>
                </a:tc>
                <a:extLst>
                  <a:ext uri="{0D108BD9-81ED-4DB2-BD59-A6C34878D82A}">
                    <a16:rowId xmlns:a16="http://schemas.microsoft.com/office/drawing/2014/main" val="10010"/>
                  </a:ext>
                </a:extLst>
              </a:tr>
              <a:tr h="966423">
                <a:tc>
                  <a:txBody>
                    <a:bodyPr/>
                    <a:lstStyle/>
                    <a:p>
                      <a:pPr algn="ctr">
                        <a:lnSpc>
                          <a:spcPct val="115000"/>
                        </a:lnSpc>
                        <a:spcAft>
                          <a:spcPts val="0"/>
                        </a:spcAft>
                      </a:pPr>
                      <a:r>
                        <a:rPr lang="en-ZA" sz="1200" b="1" dirty="0" smtClean="0">
                          <a:effectLst/>
                        </a:rPr>
                        <a:t>10.</a:t>
                      </a:r>
                      <a:endParaRPr lang="en-ZA" sz="1200" b="1" dirty="0">
                        <a:effectLst/>
                        <a:latin typeface="+mj-lt"/>
                        <a:ea typeface="Calibri"/>
                        <a:cs typeface="Times New Roman"/>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rPr>
                        <a:t>ARCHIBUS</a:t>
                      </a:r>
                      <a:r>
                        <a:rPr lang="en-US" sz="1200" b="1" kern="1200" baseline="0" dirty="0">
                          <a:solidFill>
                            <a:schemeClr val="dk1"/>
                          </a:solidFill>
                        </a:rPr>
                        <a:t>  full suite; Functionality; Integration; Business Process alignment; Value Chain integration</a:t>
                      </a:r>
                      <a:endParaRPr lang="en-ZA" sz="1200" b="1" kern="1200" dirty="0">
                        <a:solidFill>
                          <a:schemeClr val="dk1"/>
                        </a:solidFill>
                        <a:latin typeface="+mj-lt"/>
                        <a:ea typeface="+mn-ea"/>
                        <a:cs typeface="+mn-cs"/>
                      </a:endParaRPr>
                    </a:p>
                  </a:txBody>
                  <a:tcPr marL="50234" marR="50234" marT="25124" marB="25124"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rPr>
                        <a:t>22-34</a:t>
                      </a:r>
                      <a:endParaRPr lang="en-ZA" sz="1200" b="1" kern="1200" dirty="0">
                        <a:solidFill>
                          <a:schemeClr val="dk1"/>
                        </a:solidFill>
                        <a:latin typeface="+mj-lt"/>
                        <a:ea typeface="+mn-ea"/>
                        <a:cs typeface="+mn-cs"/>
                      </a:endParaRPr>
                    </a:p>
                  </a:txBody>
                  <a:tcPr marL="50234" marR="50234" marT="25124" marB="25124" anchor="ctr"/>
                </a:tc>
                <a:extLst>
                  <a:ext uri="{0D108BD9-81ED-4DB2-BD59-A6C34878D82A}">
                    <a16:rowId xmlns:a16="http://schemas.microsoft.com/office/drawing/2014/main" val="10007"/>
                  </a:ext>
                </a:extLst>
              </a:tr>
            </a:tbl>
          </a:graphicData>
        </a:graphic>
      </p:graphicFrame>
      <p:graphicFrame>
        <p:nvGraphicFramePr>
          <p:cNvPr id="6" name="Content Placeholder 3">
            <a:extLst>
              <a:ext uri="{FF2B5EF4-FFF2-40B4-BE49-F238E27FC236}">
                <a16:creationId xmlns:a16="http://schemas.microsoft.com/office/drawing/2014/main" id="{1CAF3CBF-9182-12B9-001C-4CC348363653}"/>
              </a:ext>
            </a:extLst>
          </p:cNvPr>
          <p:cNvGraphicFramePr>
            <a:graphicFrameLocks/>
          </p:cNvGraphicFramePr>
          <p:nvPr>
            <p:extLst>
              <p:ext uri="{D42A27DB-BD31-4B8C-83A1-F6EECF244321}">
                <p14:modId xmlns:p14="http://schemas.microsoft.com/office/powerpoint/2010/main" val="2667521189"/>
              </p:ext>
            </p:extLst>
          </p:nvPr>
        </p:nvGraphicFramePr>
        <p:xfrm>
          <a:off x="6414257" y="1653382"/>
          <a:ext cx="5678447" cy="4709852"/>
        </p:xfrm>
        <a:graphic>
          <a:graphicData uri="http://schemas.openxmlformats.org/drawingml/2006/table">
            <a:tbl>
              <a:tblPr firstRow="1" bandRow="1">
                <a:tableStyleId>{5C22544A-7EE6-4342-B048-85BDC9FD1C3A}</a:tableStyleId>
              </a:tblPr>
              <a:tblGrid>
                <a:gridCol w="486294">
                  <a:extLst>
                    <a:ext uri="{9D8B030D-6E8A-4147-A177-3AD203B41FA5}">
                      <a16:colId xmlns:a16="http://schemas.microsoft.com/office/drawing/2014/main" val="20000"/>
                    </a:ext>
                  </a:extLst>
                </a:gridCol>
                <a:gridCol w="3753178">
                  <a:extLst>
                    <a:ext uri="{9D8B030D-6E8A-4147-A177-3AD203B41FA5}">
                      <a16:colId xmlns:a16="http://schemas.microsoft.com/office/drawing/2014/main" val="20001"/>
                    </a:ext>
                  </a:extLst>
                </a:gridCol>
                <a:gridCol w="1438975">
                  <a:extLst>
                    <a:ext uri="{9D8B030D-6E8A-4147-A177-3AD203B41FA5}">
                      <a16:colId xmlns:a16="http://schemas.microsoft.com/office/drawing/2014/main" val="20002"/>
                    </a:ext>
                  </a:extLst>
                </a:gridCol>
              </a:tblGrid>
              <a:tr h="550236">
                <a:tc>
                  <a:txBody>
                    <a:bodyPr/>
                    <a:lstStyle/>
                    <a:p>
                      <a:pPr algn="ctr">
                        <a:lnSpc>
                          <a:spcPct val="115000"/>
                        </a:lnSpc>
                      </a:pPr>
                      <a:r>
                        <a:rPr lang="en-ZA" sz="1700" b="1" kern="1200" dirty="0">
                          <a:solidFill>
                            <a:schemeClr val="dk1"/>
                          </a:solidFill>
                          <a:effectLst/>
                        </a:rPr>
                        <a:t>NO</a:t>
                      </a:r>
                      <a:endParaRPr lang="en-ZA" sz="1700" b="1" kern="1200" dirty="0">
                        <a:solidFill>
                          <a:schemeClr val="dk1"/>
                        </a:solidFill>
                        <a:effectLst/>
                        <a:latin typeface="+mj-lt"/>
                        <a:ea typeface="Calibri"/>
                        <a:cs typeface="Times New Roman"/>
                      </a:endParaRPr>
                    </a:p>
                  </a:txBody>
                  <a:tcPr marL="50248" marR="50248" marT="25127" marB="25127"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700" b="1" kern="1200" dirty="0">
                          <a:solidFill>
                            <a:schemeClr val="dk1"/>
                          </a:solidFill>
                          <a:effectLst/>
                        </a:rPr>
                        <a:t>ITEM</a:t>
                      </a:r>
                      <a:endParaRPr lang="en-ZA" sz="1700" b="1" kern="1200" dirty="0">
                        <a:solidFill>
                          <a:schemeClr val="dk1"/>
                        </a:solidFill>
                        <a:effectLst/>
                        <a:latin typeface="+mj-lt"/>
                        <a:ea typeface="Calibri"/>
                        <a:cs typeface="Times New Roman"/>
                      </a:endParaRPr>
                    </a:p>
                  </a:txBody>
                  <a:tcPr marL="50248" marR="50248" marT="25127" marB="25127"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700" b="1" kern="1200">
                          <a:solidFill>
                            <a:schemeClr val="dk1"/>
                          </a:solidFill>
                          <a:effectLst/>
                        </a:rPr>
                        <a:t>SLIDE</a:t>
                      </a:r>
                      <a:endParaRPr lang="en-ZA" sz="1700" b="1" kern="1200" dirty="0">
                        <a:solidFill>
                          <a:schemeClr val="dk1"/>
                        </a:solidFill>
                        <a:effectLst/>
                        <a:latin typeface="+mj-lt"/>
                        <a:ea typeface="Calibri"/>
                        <a:cs typeface="Times New Roman"/>
                      </a:endParaRPr>
                    </a:p>
                  </a:txBody>
                  <a:tcPr marL="50248" marR="50248" marT="25127" marB="25127" anchor="ctr"/>
                </a:tc>
                <a:extLst>
                  <a:ext uri="{0D108BD9-81ED-4DB2-BD59-A6C34878D82A}">
                    <a16:rowId xmlns:a16="http://schemas.microsoft.com/office/drawing/2014/main" val="10000"/>
                  </a:ext>
                </a:extLst>
              </a:tr>
              <a:tr h="617905">
                <a:tc>
                  <a:txBody>
                    <a:bodyPr/>
                    <a:lstStyle/>
                    <a:p>
                      <a:pPr algn="ctr">
                        <a:lnSpc>
                          <a:spcPct val="115000"/>
                        </a:lnSpc>
                      </a:pPr>
                      <a:r>
                        <a:rPr lang="en-US" sz="1700" b="1" dirty="0" smtClean="0">
                          <a:effectLst/>
                        </a:rPr>
                        <a:t>11.</a:t>
                      </a:r>
                      <a:endParaRPr lang="en-ZA" sz="1700" b="1" dirty="0">
                        <a:effectLst/>
                        <a:latin typeface="+mj-lt"/>
                      </a:endParaRPr>
                    </a:p>
                  </a:txBody>
                  <a:tcPr marL="50248" marR="50248" marT="25127" marB="25127"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b="1" kern="1200" dirty="0">
                          <a:solidFill>
                            <a:schemeClr val="dk1"/>
                          </a:solidFill>
                          <a:effectLst/>
                        </a:rPr>
                        <a:t>ARCHIBUS d</a:t>
                      </a:r>
                      <a:r>
                        <a:rPr lang="en-ZA" sz="1200" b="1" kern="1200" baseline="0" dirty="0">
                          <a:solidFill>
                            <a:schemeClr val="dk1"/>
                          </a:solidFill>
                          <a:effectLst/>
                        </a:rPr>
                        <a:t>eployment Enhancements and System Views</a:t>
                      </a:r>
                      <a:endParaRPr lang="en-ZA" sz="1200" b="1" kern="1200" dirty="0">
                        <a:solidFill>
                          <a:schemeClr val="dk1"/>
                        </a:solidFill>
                        <a:effectLst/>
                        <a:latin typeface="+mj-lt"/>
                        <a:ea typeface="Calibri"/>
                        <a:cs typeface="Times New Roman"/>
                      </a:endParaRPr>
                    </a:p>
                  </a:txBody>
                  <a:tcPr marL="50248" marR="50248" marT="25127" marB="25127"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b="1" kern="1200" dirty="0" smtClean="0">
                          <a:solidFill>
                            <a:schemeClr val="dk1"/>
                          </a:solidFill>
                          <a:effectLst/>
                        </a:rPr>
                        <a:t>35-41</a:t>
                      </a:r>
                      <a:endParaRPr lang="en-ZA" sz="1200" b="1" kern="1200" dirty="0">
                        <a:solidFill>
                          <a:schemeClr val="dk1"/>
                        </a:solidFill>
                        <a:effectLst/>
                        <a:latin typeface="+mj-lt"/>
                        <a:ea typeface="Calibri"/>
                        <a:cs typeface="Times New Roman"/>
                      </a:endParaRPr>
                    </a:p>
                  </a:txBody>
                  <a:tcPr marL="50248" marR="50248" marT="25127" marB="25127" anchor="ctr"/>
                </a:tc>
                <a:extLst>
                  <a:ext uri="{0D108BD9-81ED-4DB2-BD59-A6C34878D82A}">
                    <a16:rowId xmlns:a16="http://schemas.microsoft.com/office/drawing/2014/main" val="10001"/>
                  </a:ext>
                </a:extLst>
              </a:tr>
              <a:tr h="617905">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ZA" sz="1700" b="1" dirty="0" smtClean="0">
                          <a:effectLst/>
                        </a:rPr>
                        <a:t>12.</a:t>
                      </a:r>
                      <a:endParaRPr lang="en-ZA" sz="1700" b="1" dirty="0">
                        <a:effectLst/>
                        <a:latin typeface="+mj-lt"/>
                        <a:ea typeface="Calibri"/>
                        <a:cs typeface="Times New Roman"/>
                      </a:endParaRPr>
                    </a:p>
                  </a:txBody>
                  <a:tcPr marL="50248" marR="50248" marT="25127" marB="25127" anchor="ct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US" sz="1200" b="1" kern="1200" dirty="0">
                          <a:solidFill>
                            <a:schemeClr val="dk1"/>
                          </a:solidFill>
                          <a:effectLst/>
                        </a:rPr>
                        <a:t>Reporting</a:t>
                      </a:r>
                      <a:r>
                        <a:rPr lang="en-US" sz="1200" b="1" kern="1200" baseline="0" dirty="0">
                          <a:solidFill>
                            <a:schemeClr val="dk1"/>
                          </a:solidFill>
                          <a:effectLst/>
                        </a:rPr>
                        <a:t> standards (GRAP, Lease Out &amp; </a:t>
                      </a:r>
                      <a:r>
                        <a:rPr lang="en-US" sz="1200" b="1" kern="1200" baseline="0" dirty="0" err="1">
                          <a:solidFill>
                            <a:schemeClr val="dk1"/>
                          </a:solidFill>
                          <a:effectLst/>
                        </a:rPr>
                        <a:t>Itemised</a:t>
                      </a:r>
                      <a:r>
                        <a:rPr lang="en-US" sz="1200" b="1" kern="1200" baseline="0" dirty="0">
                          <a:solidFill>
                            <a:schemeClr val="dk1"/>
                          </a:solidFill>
                          <a:effectLst/>
                        </a:rPr>
                        <a:t> Billing)</a:t>
                      </a:r>
                      <a:endParaRPr lang="en-ZA" sz="1200" b="1" kern="1200" dirty="0">
                        <a:solidFill>
                          <a:schemeClr val="dk1"/>
                        </a:solidFill>
                        <a:effectLst/>
                        <a:latin typeface="+mn-lt"/>
                        <a:ea typeface="Calibri"/>
                        <a:cs typeface="Times New Roman"/>
                      </a:endParaRPr>
                    </a:p>
                  </a:txBody>
                  <a:tcPr marL="50248" marR="50248" marT="25127" marB="25127"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dirty="0" smtClean="0"/>
                        <a:t>42</a:t>
                      </a:r>
                      <a:endParaRPr lang="en-ZA" sz="1200" b="1" dirty="0">
                        <a:latin typeface="+mj-lt"/>
                      </a:endParaRPr>
                    </a:p>
                  </a:txBody>
                  <a:tcPr marL="50248" marR="50248" marT="25127" marB="25127" anchor="ctr"/>
                </a:tc>
                <a:extLst>
                  <a:ext uri="{0D108BD9-81ED-4DB2-BD59-A6C34878D82A}">
                    <a16:rowId xmlns:a16="http://schemas.microsoft.com/office/drawing/2014/main" val="10002"/>
                  </a:ext>
                </a:extLst>
              </a:tr>
              <a:tr h="516556">
                <a:tc>
                  <a:txBody>
                    <a:bodyPr/>
                    <a:lstStyle/>
                    <a:p>
                      <a:pPr algn="ctr">
                        <a:lnSpc>
                          <a:spcPct val="115000"/>
                        </a:lnSpc>
                        <a:spcAft>
                          <a:spcPts val="0"/>
                        </a:spcAft>
                      </a:pPr>
                      <a:r>
                        <a:rPr lang="en-ZA" sz="1700" b="1" dirty="0">
                          <a:effectLst/>
                        </a:rPr>
                        <a:t>12.</a:t>
                      </a:r>
                      <a:endParaRPr lang="en-ZA" sz="1700" b="1" dirty="0">
                        <a:effectLst/>
                        <a:latin typeface="+mj-lt"/>
                        <a:ea typeface="Calibri"/>
                        <a:cs typeface="Times New Roman"/>
                      </a:endParaRPr>
                    </a:p>
                  </a:txBody>
                  <a:tcPr marL="50248" marR="50248" marT="25127" marB="2512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u="none" strike="noStrike" kern="0" cap="none" spc="0" normalizeH="0" baseline="0" noProof="0" dirty="0">
                          <a:ln>
                            <a:noFill/>
                          </a:ln>
                          <a:solidFill>
                            <a:sysClr val="windowText" lastClr="000000"/>
                          </a:solidFill>
                          <a:effectLst/>
                          <a:uLnTx/>
                          <a:uFillTx/>
                        </a:rPr>
                        <a:t>SAGE in production since 2014</a:t>
                      </a:r>
                      <a:endParaRPr kumimoji="0" lang="en-ZA" sz="1200" b="1" i="0" u="none" strike="noStrike" kern="0" cap="none" spc="0" normalizeH="0" baseline="0" noProof="0" dirty="0">
                        <a:ln>
                          <a:noFill/>
                        </a:ln>
                        <a:solidFill>
                          <a:sysClr val="windowText" lastClr="000000"/>
                        </a:solidFill>
                        <a:effectLst/>
                        <a:uLnTx/>
                        <a:uFillTx/>
                        <a:latin typeface="+mj-lt"/>
                        <a:ea typeface="ＭＳ Ｐゴシック" charset="-128"/>
                        <a:cs typeface="Arial" charset="0"/>
                      </a:endParaRPr>
                    </a:p>
                  </a:txBody>
                  <a:tcPr marL="50248" marR="50248" marT="25127" marB="2512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solidFill>
                            <a:sysClr val="windowText" lastClr="000000"/>
                          </a:solidFill>
                          <a:effectLst/>
                          <a:uLnTx/>
                          <a:uFillTx/>
                          <a:latin typeface="+mn-lt"/>
                          <a:ea typeface="+mn-ea"/>
                          <a:cs typeface="+mn-cs"/>
                        </a:rPr>
                        <a:t>43-44</a:t>
                      </a:r>
                      <a:endParaRPr kumimoji="0" lang="en-ZA" sz="1200" b="1" i="0" u="none" strike="noStrike" kern="0" cap="none" spc="0" normalizeH="0" baseline="0" noProof="0" dirty="0">
                        <a:ln>
                          <a:noFill/>
                        </a:ln>
                        <a:solidFill>
                          <a:sysClr val="windowText" lastClr="000000"/>
                        </a:solidFill>
                        <a:effectLst/>
                        <a:uLnTx/>
                        <a:uFillTx/>
                        <a:latin typeface="+mj-lt"/>
                        <a:ea typeface="ＭＳ Ｐゴシック" charset="-128"/>
                        <a:cs typeface="Arial" charset="0"/>
                      </a:endParaRPr>
                    </a:p>
                  </a:txBody>
                  <a:tcPr marL="50248" marR="50248" marT="25127" marB="25127" anchor="ctr"/>
                </a:tc>
                <a:extLst>
                  <a:ext uri="{0D108BD9-81ED-4DB2-BD59-A6C34878D82A}">
                    <a16:rowId xmlns:a16="http://schemas.microsoft.com/office/drawing/2014/main" val="10005"/>
                  </a:ext>
                </a:extLst>
              </a:tr>
              <a:tr h="516556">
                <a:tc>
                  <a:txBody>
                    <a:bodyPr/>
                    <a:lstStyle/>
                    <a:p>
                      <a:pPr algn="ctr">
                        <a:lnSpc>
                          <a:spcPct val="115000"/>
                        </a:lnSpc>
                        <a:spcAft>
                          <a:spcPts val="0"/>
                        </a:spcAft>
                      </a:pPr>
                      <a:r>
                        <a:rPr lang="en-ZA" sz="1700" b="1">
                          <a:effectLst/>
                        </a:rPr>
                        <a:t>13.</a:t>
                      </a:r>
                      <a:endParaRPr lang="en-ZA" sz="1700" b="1" dirty="0">
                        <a:effectLst/>
                        <a:latin typeface="+mj-lt"/>
                        <a:ea typeface="Calibri"/>
                        <a:cs typeface="Times New Roman"/>
                      </a:endParaRPr>
                    </a:p>
                  </a:txBody>
                  <a:tcPr marL="50248" marR="50248" marT="25127" marB="25127" anchor="ct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ZA" sz="1200" b="1" kern="1200" dirty="0">
                          <a:solidFill>
                            <a:schemeClr val="dk1"/>
                          </a:solidFill>
                          <a:effectLst/>
                        </a:rPr>
                        <a:t>SAGE</a:t>
                      </a:r>
                      <a:r>
                        <a:rPr lang="en-ZA" sz="1200" b="1" kern="1200" baseline="0" dirty="0">
                          <a:solidFill>
                            <a:schemeClr val="dk1"/>
                          </a:solidFill>
                          <a:effectLst/>
                        </a:rPr>
                        <a:t> </a:t>
                      </a:r>
                      <a:r>
                        <a:rPr lang="en-ZA" sz="1200" b="1" kern="1200" dirty="0">
                          <a:solidFill>
                            <a:schemeClr val="dk1"/>
                          </a:solidFill>
                          <a:effectLst/>
                        </a:rPr>
                        <a:t>2018/19 Roll</a:t>
                      </a:r>
                      <a:r>
                        <a:rPr lang="en-ZA" sz="1200" b="1" kern="1200" baseline="0" dirty="0">
                          <a:solidFill>
                            <a:schemeClr val="dk1"/>
                          </a:solidFill>
                          <a:effectLst/>
                        </a:rPr>
                        <a:t> out</a:t>
                      </a:r>
                      <a:endParaRPr lang="en-ZA" sz="1200" b="1" kern="1200" dirty="0">
                        <a:solidFill>
                          <a:schemeClr val="dk1"/>
                        </a:solidFill>
                        <a:effectLst/>
                        <a:latin typeface="+mn-lt"/>
                        <a:ea typeface="Calibri"/>
                        <a:cs typeface="Times New Roman"/>
                      </a:endParaRPr>
                    </a:p>
                  </a:txBody>
                  <a:tcPr marL="50248" marR="50248" marT="25127" marB="25127"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a:solidFill>
                            <a:schemeClr val="dk1"/>
                          </a:solidFill>
                        </a:rPr>
                        <a:t>41</a:t>
                      </a:r>
                      <a:endParaRPr lang="en-ZA" sz="1200" b="1" kern="1200" dirty="0">
                        <a:solidFill>
                          <a:schemeClr val="dk1"/>
                        </a:solidFill>
                        <a:latin typeface="+mj-lt"/>
                        <a:ea typeface="+mn-ea"/>
                        <a:cs typeface="+mn-cs"/>
                      </a:endParaRPr>
                    </a:p>
                  </a:txBody>
                  <a:tcPr marL="50248" marR="50248" marT="25127" marB="25127" anchor="ctr"/>
                </a:tc>
                <a:extLst>
                  <a:ext uri="{0D108BD9-81ED-4DB2-BD59-A6C34878D82A}">
                    <a16:rowId xmlns:a16="http://schemas.microsoft.com/office/drawing/2014/main" val="10006"/>
                  </a:ext>
                </a:extLst>
              </a:tr>
              <a:tr h="687069">
                <a:tc>
                  <a:txBody>
                    <a:bodyPr/>
                    <a:lstStyle/>
                    <a:p>
                      <a:pPr algn="ctr">
                        <a:lnSpc>
                          <a:spcPct val="115000"/>
                        </a:lnSpc>
                        <a:spcAft>
                          <a:spcPts val="0"/>
                        </a:spcAft>
                      </a:pPr>
                      <a:r>
                        <a:rPr lang="en-ZA" sz="1700" b="1" dirty="0">
                          <a:effectLst/>
                          <a:latin typeface="+mj-lt"/>
                          <a:ea typeface="Calibri"/>
                          <a:cs typeface="Times New Roman"/>
                        </a:rPr>
                        <a:t>14</a:t>
                      </a:r>
                    </a:p>
                  </a:txBody>
                  <a:tcPr marL="50248" marR="50248" marT="25127" marB="25127"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a:solidFill>
                            <a:schemeClr val="dk1"/>
                          </a:solidFill>
                          <a:latin typeface="+mn-lt"/>
                          <a:ea typeface="+mn-ea"/>
                          <a:cs typeface="+mn-cs"/>
                        </a:rPr>
                        <a:t>ARCHIBUS &amp; Sage  Project Expenditure</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200" b="1" kern="1200" dirty="0">
                        <a:solidFill>
                          <a:schemeClr val="dk1"/>
                        </a:solidFill>
                        <a:latin typeface="+mj-lt"/>
                        <a:ea typeface="+mn-ea"/>
                        <a:cs typeface="+mn-cs"/>
                      </a:endParaRPr>
                    </a:p>
                  </a:txBody>
                  <a:tcPr marL="50248" marR="50248" marT="25127" marB="25127"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latin typeface="+mj-lt"/>
                          <a:ea typeface="+mn-ea"/>
                          <a:cs typeface="+mn-cs"/>
                        </a:rPr>
                        <a:t>45-47</a:t>
                      </a:r>
                      <a:endParaRPr lang="en-ZA" sz="1200" b="1" kern="1200" dirty="0">
                        <a:solidFill>
                          <a:schemeClr val="dk1"/>
                        </a:solidFill>
                        <a:latin typeface="+mj-lt"/>
                        <a:ea typeface="+mn-ea"/>
                        <a:cs typeface="+mn-cs"/>
                      </a:endParaRPr>
                    </a:p>
                  </a:txBody>
                  <a:tcPr marL="50248" marR="50248" marT="25127" marB="25127" anchor="ctr"/>
                </a:tc>
                <a:extLst>
                  <a:ext uri="{0D108BD9-81ED-4DB2-BD59-A6C34878D82A}">
                    <a16:rowId xmlns:a16="http://schemas.microsoft.com/office/drawing/2014/main" val="4103728414"/>
                  </a:ext>
                </a:extLst>
              </a:tr>
              <a:tr h="687069">
                <a:tc>
                  <a:txBody>
                    <a:bodyPr/>
                    <a:lstStyle/>
                    <a:p>
                      <a:pPr algn="ctr">
                        <a:lnSpc>
                          <a:spcPct val="115000"/>
                        </a:lnSpc>
                        <a:spcAft>
                          <a:spcPts val="0"/>
                        </a:spcAft>
                      </a:pPr>
                      <a:r>
                        <a:rPr lang="en-ZA" sz="1700" b="1">
                          <a:effectLst/>
                        </a:rPr>
                        <a:t>14.</a:t>
                      </a:r>
                      <a:endParaRPr lang="en-ZA" sz="1700" b="1" dirty="0">
                        <a:effectLst/>
                        <a:latin typeface="+mj-lt"/>
                        <a:ea typeface="Calibri"/>
                        <a:cs typeface="Times New Roman"/>
                      </a:endParaRPr>
                    </a:p>
                  </a:txBody>
                  <a:tcPr marL="50248" marR="50248" marT="25127" marB="25127"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a:solidFill>
                            <a:schemeClr val="dk1"/>
                          </a:solidFill>
                          <a:latin typeface="+mj-lt"/>
                          <a:ea typeface="+mn-ea"/>
                          <a:cs typeface="+mn-cs"/>
                        </a:rPr>
                        <a:t>RISK AND MITIGATION</a:t>
                      </a:r>
                    </a:p>
                  </a:txBody>
                  <a:tcPr marL="50248" marR="50248" marT="25127" marB="25127"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rPr>
                        <a:t>48</a:t>
                      </a:r>
                      <a:endParaRPr lang="en-ZA" sz="1200" b="1" kern="1200" dirty="0">
                        <a:solidFill>
                          <a:schemeClr val="dk1"/>
                        </a:solidFill>
                        <a:latin typeface="+mj-lt"/>
                        <a:ea typeface="+mn-ea"/>
                        <a:cs typeface="+mn-cs"/>
                      </a:endParaRPr>
                    </a:p>
                  </a:txBody>
                  <a:tcPr marL="50248" marR="50248" marT="25127" marB="25127" anchor="ctr"/>
                </a:tc>
                <a:extLst>
                  <a:ext uri="{0D108BD9-81ED-4DB2-BD59-A6C34878D82A}">
                    <a16:rowId xmlns:a16="http://schemas.microsoft.com/office/drawing/2014/main" val="10007"/>
                  </a:ext>
                </a:extLst>
              </a:tr>
              <a:tr h="516556">
                <a:tc>
                  <a:txBody>
                    <a:bodyPr/>
                    <a:lstStyle/>
                    <a:p>
                      <a:pPr algn="ctr">
                        <a:lnSpc>
                          <a:spcPct val="115000"/>
                        </a:lnSpc>
                        <a:spcAft>
                          <a:spcPts val="0"/>
                        </a:spcAft>
                      </a:pPr>
                      <a:r>
                        <a:rPr lang="en-ZA" sz="1700" b="1" dirty="0">
                          <a:effectLst/>
                          <a:latin typeface="+mj-lt"/>
                          <a:ea typeface="Calibri"/>
                          <a:cs typeface="Times New Roman"/>
                        </a:rPr>
                        <a:t>15</a:t>
                      </a:r>
                    </a:p>
                  </a:txBody>
                  <a:tcPr marL="50248" marR="50248" marT="25127" marB="25127"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rPr>
                        <a:t>SAGE-ARCHIBUS</a:t>
                      </a:r>
                      <a:r>
                        <a:rPr lang="en-US" sz="1200" b="1" kern="1200" baseline="0" dirty="0">
                          <a:solidFill>
                            <a:schemeClr val="dk1"/>
                          </a:solidFill>
                        </a:rPr>
                        <a:t> delivery plan</a:t>
                      </a:r>
                      <a:endParaRPr lang="en-ZA" sz="1200" b="1" kern="1200" dirty="0">
                        <a:solidFill>
                          <a:schemeClr val="dk1"/>
                        </a:solidFill>
                        <a:latin typeface="+mj-lt"/>
                        <a:ea typeface="+mn-ea"/>
                        <a:cs typeface="+mn-cs"/>
                      </a:endParaRPr>
                    </a:p>
                  </a:txBody>
                  <a:tcPr marL="50248" marR="50248" marT="25127" marB="25127" anchor="ct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kern="1200" dirty="0" smtClean="0">
                          <a:solidFill>
                            <a:schemeClr val="dk1"/>
                          </a:solidFill>
                          <a:latin typeface="+mj-lt"/>
                          <a:ea typeface="+mn-ea"/>
                          <a:cs typeface="+mn-cs"/>
                        </a:rPr>
                        <a:t>49-50</a:t>
                      </a:r>
                      <a:endParaRPr lang="en-ZA" sz="1200" b="1" kern="1200" dirty="0">
                        <a:solidFill>
                          <a:schemeClr val="dk1"/>
                        </a:solidFill>
                        <a:latin typeface="+mj-lt"/>
                        <a:ea typeface="+mn-ea"/>
                        <a:cs typeface="+mn-cs"/>
                      </a:endParaRPr>
                    </a:p>
                  </a:txBody>
                  <a:tcPr marL="50248" marR="50248" marT="25127" marB="25127" anchor="ctr"/>
                </a:tc>
                <a:extLst>
                  <a:ext uri="{0D108BD9-81ED-4DB2-BD59-A6C34878D82A}">
                    <a16:rowId xmlns:a16="http://schemas.microsoft.com/office/drawing/2014/main" val="117437791"/>
                  </a:ext>
                </a:extLst>
              </a:tr>
            </a:tbl>
          </a:graphicData>
        </a:graphic>
      </p:graphicFrame>
    </p:spTree>
    <p:extLst>
      <p:ext uri="{BB962C8B-B14F-4D97-AF65-F5344CB8AC3E}">
        <p14:creationId xmlns:p14="http://schemas.microsoft.com/office/powerpoint/2010/main" val="3426097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5C080-0554-D7F4-CD2D-49E78B4060C5}"/>
              </a:ext>
            </a:extLst>
          </p:cNvPr>
          <p:cNvSpPr>
            <a:spLocks noGrp="1"/>
          </p:cNvSpPr>
          <p:nvPr>
            <p:ph type="title"/>
          </p:nvPr>
        </p:nvSpPr>
        <p:spPr>
          <a:xfrm>
            <a:off x="1258738" y="1188583"/>
            <a:ext cx="9923129" cy="485224"/>
          </a:xfrm>
        </p:spPr>
        <p:txBody>
          <a:bodyPr>
            <a:normAutofit/>
          </a:bodyPr>
          <a:lstStyle/>
          <a:p>
            <a:pPr>
              <a:defRPr/>
            </a:pPr>
            <a:r>
              <a:rPr lang="en-US" sz="3019" b="1" dirty="0">
                <a:solidFill>
                  <a:schemeClr val="tx1"/>
                </a:solidFill>
                <a:latin typeface="+mj-lt"/>
                <a:cs typeface="+mj-cs"/>
              </a:rPr>
              <a:t>APPLICATIONS OF CHOICE : </a:t>
            </a:r>
            <a:r>
              <a:rPr lang="en-US" sz="3019" b="1" dirty="0" smtClean="0">
                <a:solidFill>
                  <a:schemeClr val="tx1"/>
                </a:solidFill>
                <a:latin typeface="+mj-lt"/>
                <a:cs typeface="+mj-cs"/>
              </a:rPr>
              <a:t>ARCHIBUS </a:t>
            </a:r>
            <a:r>
              <a:rPr lang="en-US" sz="3019" b="1" dirty="0">
                <a:solidFill>
                  <a:schemeClr val="tx1"/>
                </a:solidFill>
                <a:latin typeface="+mj-lt"/>
                <a:cs typeface="+mj-cs"/>
              </a:rPr>
              <a:t>&amp; SAGE </a:t>
            </a:r>
            <a:endParaRPr lang="en-US" dirty="0"/>
          </a:p>
        </p:txBody>
      </p:sp>
      <p:graphicFrame>
        <p:nvGraphicFramePr>
          <p:cNvPr id="5" name="Content Placeholder 4">
            <a:extLst>
              <a:ext uri="{FF2B5EF4-FFF2-40B4-BE49-F238E27FC236}">
                <a16:creationId xmlns:a16="http://schemas.microsoft.com/office/drawing/2014/main" id="{4CAF70AC-167F-16B1-1AE6-8E9EBB87AE2C}"/>
              </a:ext>
            </a:extLst>
          </p:cNvPr>
          <p:cNvGraphicFramePr>
            <a:graphicFrameLocks noGrp="1"/>
          </p:cNvGraphicFramePr>
          <p:nvPr>
            <p:ph idx="1"/>
          </p:nvPr>
        </p:nvGraphicFramePr>
        <p:xfrm>
          <a:off x="2060820" y="1919416"/>
          <a:ext cx="8158950" cy="4328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7892" name="TextBox 3">
            <a:extLst>
              <a:ext uri="{FF2B5EF4-FFF2-40B4-BE49-F238E27FC236}">
                <a16:creationId xmlns:a16="http://schemas.microsoft.com/office/drawing/2014/main" id="{51209AC0-4542-E5B0-7AC8-B31EBEAC3EBA}"/>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20</a:t>
            </a:r>
            <a:endParaRPr lang="en-US" altLang="en-US" sz="1698" dirty="0"/>
          </a:p>
        </p:txBody>
      </p:sp>
    </p:spTree>
    <p:extLst>
      <p:ext uri="{BB962C8B-B14F-4D97-AF65-F5344CB8AC3E}">
        <p14:creationId xmlns:p14="http://schemas.microsoft.com/office/powerpoint/2010/main" val="38968140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5" name="Content Placeholder 4">
            <a:extLst>
              <a:ext uri="{FF2B5EF4-FFF2-40B4-BE49-F238E27FC236}">
                <a16:creationId xmlns:a16="http://schemas.microsoft.com/office/drawing/2014/main" id="{2487C362-878A-B72B-D074-4C934D2DD502}"/>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83378" y="1559989"/>
            <a:ext cx="9225245" cy="415136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a:extLst>
              <a:ext uri="{FF2B5EF4-FFF2-40B4-BE49-F238E27FC236}">
                <a16:creationId xmlns:a16="http://schemas.microsoft.com/office/drawing/2014/main" id="{9E1EF39D-39A7-0407-C828-E5FFC25DDEC4}"/>
              </a:ext>
            </a:extLst>
          </p:cNvPr>
          <p:cNvSpPr>
            <a:spLocks noGrp="1"/>
          </p:cNvSpPr>
          <p:nvPr>
            <p:ph type="body" sz="quarter" idx="10"/>
          </p:nvPr>
        </p:nvSpPr>
        <p:spPr>
          <a:xfrm>
            <a:off x="1036248" y="220392"/>
            <a:ext cx="10691401" cy="823664"/>
          </a:xfrm>
        </p:spPr>
        <p:txBody>
          <a:bodyPr>
            <a:normAutofit/>
          </a:bodyPr>
          <a:lstStyle/>
          <a:p>
            <a:pPr>
              <a:defRPr/>
            </a:pPr>
            <a:r>
              <a:rPr lang="en-US" sz="4000" dirty="0">
                <a:cs typeface="+mn-cs"/>
              </a:rPr>
              <a:t>ALIGNMENT</a:t>
            </a:r>
            <a:r>
              <a:rPr lang="en-US" sz="4000" dirty="0">
                <a:latin typeface="+mj-lt"/>
                <a:ea typeface="+mj-ea"/>
                <a:cs typeface="+mj-cs"/>
              </a:rPr>
              <a:t> TO GIAMA</a:t>
            </a:r>
            <a:endParaRPr lang="en-ZA" sz="4000" dirty="0">
              <a:latin typeface="+mj-lt"/>
              <a:ea typeface="+mj-ea"/>
              <a:cs typeface="+mj-cs"/>
            </a:endParaRPr>
          </a:p>
        </p:txBody>
      </p:sp>
      <p:sp>
        <p:nvSpPr>
          <p:cNvPr id="10" name="Rectangle 9">
            <a:extLst>
              <a:ext uri="{FF2B5EF4-FFF2-40B4-BE49-F238E27FC236}">
                <a16:creationId xmlns:a16="http://schemas.microsoft.com/office/drawing/2014/main" id="{429A4504-82C5-3273-069A-BCFD0788DA1B}"/>
              </a:ext>
            </a:extLst>
          </p:cNvPr>
          <p:cNvSpPr/>
          <p:nvPr/>
        </p:nvSpPr>
        <p:spPr>
          <a:xfrm>
            <a:off x="10629011" y="1559972"/>
            <a:ext cx="883095" cy="847012"/>
          </a:xfrm>
          <a:prstGeom prst="rect">
            <a:avLst/>
          </a:prstGeom>
          <a:ln w="44450"/>
        </p:spPr>
        <p:style>
          <a:lnRef idx="2">
            <a:schemeClr val="accent2"/>
          </a:lnRef>
          <a:fillRef idx="1">
            <a:schemeClr val="lt1"/>
          </a:fillRef>
          <a:effectRef idx="0">
            <a:schemeClr val="accent2"/>
          </a:effectRef>
          <a:fontRef idx="minor">
            <a:schemeClr val="dk1"/>
          </a:fontRef>
        </p:style>
        <p:txBody>
          <a:bodyPr anchor="ctr"/>
          <a:lstStyle/>
          <a:p>
            <a:pPr algn="ctr">
              <a:defRPr/>
            </a:pPr>
            <a:r>
              <a:rPr lang="en-US" sz="1698" b="1" dirty="0">
                <a:ln>
                  <a:solidFill>
                    <a:srgbClr val="C00000"/>
                  </a:solidFill>
                </a:ln>
                <a:solidFill>
                  <a:srgbClr val="FF0000"/>
                </a:solidFill>
              </a:rPr>
              <a:t>C-AMP</a:t>
            </a:r>
          </a:p>
        </p:txBody>
      </p:sp>
      <p:cxnSp>
        <p:nvCxnSpPr>
          <p:cNvPr id="13" name="Elbow Connector 12">
            <a:extLst>
              <a:ext uri="{FF2B5EF4-FFF2-40B4-BE49-F238E27FC236}">
                <a16:creationId xmlns:a16="http://schemas.microsoft.com/office/drawing/2014/main" id="{344B14A8-11EE-1A2D-CA24-702599E4EC70}"/>
              </a:ext>
            </a:extLst>
          </p:cNvPr>
          <p:cNvCxnSpPr/>
          <p:nvPr/>
        </p:nvCxnSpPr>
        <p:spPr>
          <a:xfrm rot="10800000" flipV="1">
            <a:off x="8921982" y="1937386"/>
            <a:ext cx="1698284" cy="1210065"/>
          </a:xfrm>
          <a:prstGeom prst="bentConnector3">
            <a:avLst>
              <a:gd name="adj1" fmla="val 16898"/>
            </a:avLst>
          </a:prstGeom>
          <a:ln w="34925">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919" name="TextBox 8">
            <a:extLst>
              <a:ext uri="{FF2B5EF4-FFF2-40B4-BE49-F238E27FC236}">
                <a16:creationId xmlns:a16="http://schemas.microsoft.com/office/drawing/2014/main" id="{ED188BC2-6727-35FB-E11B-24973451781E}"/>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21</a:t>
            </a:r>
            <a:endParaRPr lang="en-US" altLang="en-US" sz="1698" dirty="0"/>
          </a:p>
        </p:txBody>
      </p:sp>
    </p:spTree>
    <p:extLst>
      <p:ext uri="{BB962C8B-B14F-4D97-AF65-F5344CB8AC3E}">
        <p14:creationId xmlns:p14="http://schemas.microsoft.com/office/powerpoint/2010/main" val="26926490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5" name="Elbow Connector 104">
            <a:extLst>
              <a:ext uri="{FF2B5EF4-FFF2-40B4-BE49-F238E27FC236}">
                <a16:creationId xmlns:a16="http://schemas.microsoft.com/office/drawing/2014/main" id="{439CEAA8-E815-A36D-12DA-61AA1517F484}"/>
              </a:ext>
            </a:extLst>
          </p:cNvPr>
          <p:cNvCxnSpPr/>
          <p:nvPr/>
        </p:nvCxnSpPr>
        <p:spPr>
          <a:xfrm rot="5400000" flipH="1" flipV="1">
            <a:off x="7282854" y="3148201"/>
            <a:ext cx="1033347" cy="226139"/>
          </a:xfrm>
          <a:prstGeom prst="bentConnector3">
            <a:avLst/>
          </a:prstGeom>
          <a:ln w="28575">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963" name="Slide Number Placeholder 2">
            <a:extLst>
              <a:ext uri="{FF2B5EF4-FFF2-40B4-BE49-F238E27FC236}">
                <a16:creationId xmlns:a16="http://schemas.microsoft.com/office/drawing/2014/main" id="{3FE9D381-63F9-7CE7-A0D9-61DEA699DBC8}"/>
              </a:ext>
            </a:extLst>
          </p:cNvPr>
          <p:cNvSpPr txBox="1">
            <a:spLocks/>
          </p:cNvSpPr>
          <p:nvPr/>
        </p:nvSpPr>
        <p:spPr bwMode="auto">
          <a:xfrm>
            <a:off x="5365169" y="6090246"/>
            <a:ext cx="1461662" cy="34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endParaRPr lang="en-US" altLang="en-US" sz="1698">
              <a:solidFill>
                <a:srgbClr val="000000"/>
              </a:solidFill>
            </a:endParaRPr>
          </a:p>
        </p:txBody>
      </p:sp>
      <p:sp>
        <p:nvSpPr>
          <p:cNvPr id="4" name="Rounded Rectangle 3">
            <a:extLst>
              <a:ext uri="{FF2B5EF4-FFF2-40B4-BE49-F238E27FC236}">
                <a16:creationId xmlns:a16="http://schemas.microsoft.com/office/drawing/2014/main" id="{091540D0-F553-FD37-CEAF-295411C2D86E}"/>
              </a:ext>
            </a:extLst>
          </p:cNvPr>
          <p:cNvSpPr/>
          <p:nvPr/>
        </p:nvSpPr>
        <p:spPr>
          <a:xfrm>
            <a:off x="4342306" y="3809393"/>
            <a:ext cx="4211264" cy="5436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98" b="1" dirty="0">
                <a:solidFill>
                  <a:prstClr val="white"/>
                </a:solidFill>
              </a:rPr>
              <a:t>IAR</a:t>
            </a:r>
          </a:p>
        </p:txBody>
      </p:sp>
      <p:sp>
        <p:nvSpPr>
          <p:cNvPr id="5" name="Rectangle 4">
            <a:extLst>
              <a:ext uri="{FF2B5EF4-FFF2-40B4-BE49-F238E27FC236}">
                <a16:creationId xmlns:a16="http://schemas.microsoft.com/office/drawing/2014/main" id="{17D15ACD-E397-5EBA-CE7C-CB4DE6AB3F50}"/>
              </a:ext>
            </a:extLst>
          </p:cNvPr>
          <p:cNvSpPr/>
          <p:nvPr/>
        </p:nvSpPr>
        <p:spPr>
          <a:xfrm>
            <a:off x="2316047" y="2460052"/>
            <a:ext cx="1154654" cy="476238"/>
          </a:xfrm>
          <a:prstGeom prst="rect">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21" b="1" dirty="0">
                <a:solidFill>
                  <a:prstClr val="white"/>
                </a:solidFill>
              </a:rPr>
              <a:t>Lease Out</a:t>
            </a:r>
          </a:p>
        </p:txBody>
      </p:sp>
      <p:sp>
        <p:nvSpPr>
          <p:cNvPr id="6" name="Rectangle 5">
            <a:extLst>
              <a:ext uri="{FF2B5EF4-FFF2-40B4-BE49-F238E27FC236}">
                <a16:creationId xmlns:a16="http://schemas.microsoft.com/office/drawing/2014/main" id="{BC967375-A54D-C4AB-FED1-95D95F8D9BD6}"/>
              </a:ext>
            </a:extLst>
          </p:cNvPr>
          <p:cNvSpPr/>
          <p:nvPr/>
        </p:nvSpPr>
        <p:spPr>
          <a:xfrm>
            <a:off x="2316047" y="3343639"/>
            <a:ext cx="1154654" cy="474740"/>
          </a:xfrm>
          <a:prstGeom prst="rect">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21" b="1" dirty="0">
                <a:solidFill>
                  <a:prstClr val="white"/>
                </a:solidFill>
              </a:rPr>
              <a:t>Portfolio Analysis</a:t>
            </a:r>
          </a:p>
        </p:txBody>
      </p:sp>
      <p:sp>
        <p:nvSpPr>
          <p:cNvPr id="7" name="Rectangle 6">
            <a:extLst>
              <a:ext uri="{FF2B5EF4-FFF2-40B4-BE49-F238E27FC236}">
                <a16:creationId xmlns:a16="http://schemas.microsoft.com/office/drawing/2014/main" id="{D3284EE7-4F4D-E5FF-5254-DF5E25107751}"/>
              </a:ext>
            </a:extLst>
          </p:cNvPr>
          <p:cNvSpPr/>
          <p:nvPr/>
        </p:nvSpPr>
        <p:spPr>
          <a:xfrm>
            <a:off x="2292085" y="4634574"/>
            <a:ext cx="1154654" cy="474740"/>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21" b="1" dirty="0">
                <a:solidFill>
                  <a:prstClr val="white"/>
                </a:solidFill>
              </a:rPr>
              <a:t>Rates &amp; Taxes</a:t>
            </a:r>
          </a:p>
        </p:txBody>
      </p:sp>
      <p:sp>
        <p:nvSpPr>
          <p:cNvPr id="8" name="Rectangle 7">
            <a:extLst>
              <a:ext uri="{FF2B5EF4-FFF2-40B4-BE49-F238E27FC236}">
                <a16:creationId xmlns:a16="http://schemas.microsoft.com/office/drawing/2014/main" id="{50186EF5-AC2C-E6F7-5B55-7E2796DB24C1}"/>
              </a:ext>
            </a:extLst>
          </p:cNvPr>
          <p:cNvSpPr/>
          <p:nvPr/>
        </p:nvSpPr>
        <p:spPr>
          <a:xfrm>
            <a:off x="2292085" y="5652945"/>
            <a:ext cx="1154654" cy="476238"/>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21" b="1" dirty="0">
                <a:solidFill>
                  <a:prstClr val="white"/>
                </a:solidFill>
              </a:rPr>
              <a:t>Maintenance Costs</a:t>
            </a:r>
          </a:p>
        </p:txBody>
      </p:sp>
      <p:sp>
        <p:nvSpPr>
          <p:cNvPr id="9" name="Can 8">
            <a:extLst>
              <a:ext uri="{FF2B5EF4-FFF2-40B4-BE49-F238E27FC236}">
                <a16:creationId xmlns:a16="http://schemas.microsoft.com/office/drawing/2014/main" id="{233F4C8D-5E0E-BF16-84FC-D4419DD7B598}"/>
              </a:ext>
            </a:extLst>
          </p:cNvPr>
          <p:cNvSpPr/>
          <p:nvPr/>
        </p:nvSpPr>
        <p:spPr>
          <a:xfrm>
            <a:off x="9648320" y="3665622"/>
            <a:ext cx="703874" cy="814697"/>
          </a:xfrm>
          <a:prstGeom prst="can">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98" b="1" dirty="0">
                <a:solidFill>
                  <a:srgbClr val="1F497D"/>
                </a:solidFill>
              </a:rPr>
              <a:t>SAGE</a:t>
            </a:r>
          </a:p>
        </p:txBody>
      </p:sp>
      <p:sp>
        <p:nvSpPr>
          <p:cNvPr id="10" name="Cube 9">
            <a:extLst>
              <a:ext uri="{FF2B5EF4-FFF2-40B4-BE49-F238E27FC236}">
                <a16:creationId xmlns:a16="http://schemas.microsoft.com/office/drawing/2014/main" id="{B7480ADC-516F-3697-3B0B-6FF6CE49E7A8}"/>
              </a:ext>
            </a:extLst>
          </p:cNvPr>
          <p:cNvSpPr/>
          <p:nvPr/>
        </p:nvSpPr>
        <p:spPr>
          <a:xfrm>
            <a:off x="4342306" y="5461251"/>
            <a:ext cx="1222045" cy="67991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32" b="1" dirty="0">
                <a:solidFill>
                  <a:prstClr val="white"/>
                </a:solidFill>
              </a:rPr>
              <a:t>Maintenance</a:t>
            </a:r>
          </a:p>
        </p:txBody>
      </p:sp>
      <p:sp>
        <p:nvSpPr>
          <p:cNvPr id="11" name="Round Same Side Corner Rectangle 10">
            <a:extLst>
              <a:ext uri="{FF2B5EF4-FFF2-40B4-BE49-F238E27FC236}">
                <a16:creationId xmlns:a16="http://schemas.microsoft.com/office/drawing/2014/main" id="{79B28624-2481-C388-E545-A1E93CAC21C5}"/>
              </a:ext>
            </a:extLst>
          </p:cNvPr>
          <p:cNvSpPr/>
          <p:nvPr/>
        </p:nvSpPr>
        <p:spPr>
          <a:xfrm>
            <a:off x="5200433" y="4499788"/>
            <a:ext cx="1019869" cy="611023"/>
          </a:xfrm>
          <a:prstGeom prst="round2Same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32" b="1" dirty="0">
                <a:solidFill>
                  <a:prstClr val="white"/>
                </a:solidFill>
              </a:rPr>
              <a:t>Condition Assessment</a:t>
            </a:r>
          </a:p>
        </p:txBody>
      </p:sp>
      <p:sp>
        <p:nvSpPr>
          <p:cNvPr id="12" name="Cube 11">
            <a:extLst>
              <a:ext uri="{FF2B5EF4-FFF2-40B4-BE49-F238E27FC236}">
                <a16:creationId xmlns:a16="http://schemas.microsoft.com/office/drawing/2014/main" id="{AE0DF81E-2289-93CD-52FA-DB0D7E104E53}"/>
              </a:ext>
            </a:extLst>
          </p:cNvPr>
          <p:cNvSpPr/>
          <p:nvPr/>
        </p:nvSpPr>
        <p:spPr>
          <a:xfrm>
            <a:off x="5836915" y="5458256"/>
            <a:ext cx="1222045" cy="67991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32" b="1" dirty="0">
                <a:solidFill>
                  <a:prstClr val="white"/>
                </a:solidFill>
              </a:rPr>
              <a:t>Capital Projects</a:t>
            </a:r>
          </a:p>
        </p:txBody>
      </p:sp>
      <p:sp>
        <p:nvSpPr>
          <p:cNvPr id="13" name="Cube 12">
            <a:extLst>
              <a:ext uri="{FF2B5EF4-FFF2-40B4-BE49-F238E27FC236}">
                <a16:creationId xmlns:a16="http://schemas.microsoft.com/office/drawing/2014/main" id="{5FA7A9E0-41A0-DE32-E8B0-F68E7095AA44}"/>
              </a:ext>
            </a:extLst>
          </p:cNvPr>
          <p:cNvSpPr/>
          <p:nvPr/>
        </p:nvSpPr>
        <p:spPr>
          <a:xfrm>
            <a:off x="7331525" y="5461251"/>
            <a:ext cx="1222045" cy="679913"/>
          </a:xfrm>
          <a:prstGeom prst="cub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32" b="1" dirty="0">
                <a:solidFill>
                  <a:prstClr val="white"/>
                </a:solidFill>
              </a:rPr>
              <a:t>Facilities</a:t>
            </a:r>
          </a:p>
          <a:p>
            <a:pPr algn="ctr">
              <a:defRPr/>
            </a:pPr>
            <a:r>
              <a:rPr lang="en-US" sz="1132" b="1" dirty="0">
                <a:solidFill>
                  <a:prstClr val="white"/>
                </a:solidFill>
              </a:rPr>
              <a:t>Management</a:t>
            </a:r>
          </a:p>
        </p:txBody>
      </p:sp>
      <p:sp>
        <p:nvSpPr>
          <p:cNvPr id="15" name="Round Diagonal Corner Rectangle 14">
            <a:extLst>
              <a:ext uri="{FF2B5EF4-FFF2-40B4-BE49-F238E27FC236}">
                <a16:creationId xmlns:a16="http://schemas.microsoft.com/office/drawing/2014/main" id="{D16768E8-353B-BE2C-2D63-C65DBF998F53}"/>
              </a:ext>
            </a:extLst>
          </p:cNvPr>
          <p:cNvSpPr/>
          <p:nvPr/>
        </p:nvSpPr>
        <p:spPr>
          <a:xfrm>
            <a:off x="4634339" y="1591441"/>
            <a:ext cx="985424" cy="578075"/>
          </a:xfrm>
          <a:prstGeom prst="round2Diag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98">
              <a:solidFill>
                <a:prstClr val="white"/>
              </a:solidFill>
            </a:endParaRPr>
          </a:p>
        </p:txBody>
      </p:sp>
      <p:sp>
        <p:nvSpPr>
          <p:cNvPr id="16" name="Round Diagonal Corner Rectangle 15">
            <a:extLst>
              <a:ext uri="{FF2B5EF4-FFF2-40B4-BE49-F238E27FC236}">
                <a16:creationId xmlns:a16="http://schemas.microsoft.com/office/drawing/2014/main" id="{310D57DF-8872-F470-4F3B-EC2166604E6D}"/>
              </a:ext>
            </a:extLst>
          </p:cNvPr>
          <p:cNvSpPr/>
          <p:nvPr/>
        </p:nvSpPr>
        <p:spPr>
          <a:xfrm>
            <a:off x="4514531" y="1735211"/>
            <a:ext cx="985424" cy="578075"/>
          </a:xfrm>
          <a:prstGeom prst="round2Diag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98">
              <a:solidFill>
                <a:prstClr val="white"/>
              </a:solidFill>
            </a:endParaRPr>
          </a:p>
        </p:txBody>
      </p:sp>
      <p:sp>
        <p:nvSpPr>
          <p:cNvPr id="17" name="Round Diagonal Corner Rectangle 16">
            <a:extLst>
              <a:ext uri="{FF2B5EF4-FFF2-40B4-BE49-F238E27FC236}">
                <a16:creationId xmlns:a16="http://schemas.microsoft.com/office/drawing/2014/main" id="{A73063A5-293F-C065-32A6-7D9CEB013863}"/>
              </a:ext>
            </a:extLst>
          </p:cNvPr>
          <p:cNvSpPr/>
          <p:nvPr/>
        </p:nvSpPr>
        <p:spPr>
          <a:xfrm>
            <a:off x="4388732" y="1890962"/>
            <a:ext cx="985424" cy="576577"/>
          </a:xfrm>
          <a:prstGeom prst="round2Diag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21" b="1" dirty="0">
                <a:solidFill>
                  <a:prstClr val="white"/>
                </a:solidFill>
              </a:rPr>
              <a:t>GRAP</a:t>
            </a:r>
          </a:p>
          <a:p>
            <a:pPr algn="ctr">
              <a:defRPr/>
            </a:pPr>
            <a:r>
              <a:rPr lang="en-US" sz="1321" b="1" dirty="0">
                <a:solidFill>
                  <a:prstClr val="white"/>
                </a:solidFill>
              </a:rPr>
              <a:t>Reports</a:t>
            </a:r>
          </a:p>
        </p:txBody>
      </p:sp>
      <p:sp>
        <p:nvSpPr>
          <p:cNvPr id="18" name="Rectangle 17">
            <a:extLst>
              <a:ext uri="{FF2B5EF4-FFF2-40B4-BE49-F238E27FC236}">
                <a16:creationId xmlns:a16="http://schemas.microsoft.com/office/drawing/2014/main" id="{C0F441B9-A48D-C14A-15B4-7623E28E0CF2}"/>
              </a:ext>
            </a:extLst>
          </p:cNvPr>
          <p:cNvSpPr/>
          <p:nvPr/>
        </p:nvSpPr>
        <p:spPr>
          <a:xfrm>
            <a:off x="6232284" y="1601922"/>
            <a:ext cx="882089" cy="11741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98" b="1" dirty="0">
                <a:solidFill>
                  <a:srgbClr val="1F497D"/>
                </a:solidFill>
              </a:rPr>
              <a:t>U-AMP</a:t>
            </a:r>
          </a:p>
        </p:txBody>
      </p:sp>
      <p:sp>
        <p:nvSpPr>
          <p:cNvPr id="19" name="Rectangle 18">
            <a:extLst>
              <a:ext uri="{FF2B5EF4-FFF2-40B4-BE49-F238E27FC236}">
                <a16:creationId xmlns:a16="http://schemas.microsoft.com/office/drawing/2014/main" id="{063439FA-9D47-335F-56E2-22F5588159B3}"/>
              </a:ext>
            </a:extLst>
          </p:cNvPr>
          <p:cNvSpPr/>
          <p:nvPr/>
        </p:nvSpPr>
        <p:spPr>
          <a:xfrm>
            <a:off x="8886039" y="1601922"/>
            <a:ext cx="882089" cy="1174122"/>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98" b="1" dirty="0">
                <a:solidFill>
                  <a:srgbClr val="1F497D"/>
                </a:solidFill>
              </a:rPr>
              <a:t>Vesting</a:t>
            </a:r>
          </a:p>
        </p:txBody>
      </p:sp>
      <p:sp>
        <p:nvSpPr>
          <p:cNvPr id="20" name="Left Brace 19">
            <a:extLst>
              <a:ext uri="{FF2B5EF4-FFF2-40B4-BE49-F238E27FC236}">
                <a16:creationId xmlns:a16="http://schemas.microsoft.com/office/drawing/2014/main" id="{95B5E22D-9E04-DE18-3998-ED0DCC2D3EDB}"/>
              </a:ext>
            </a:extLst>
          </p:cNvPr>
          <p:cNvSpPr/>
          <p:nvPr/>
        </p:nvSpPr>
        <p:spPr>
          <a:xfrm>
            <a:off x="2088410" y="2460050"/>
            <a:ext cx="203674" cy="1358327"/>
          </a:xfrm>
          <a:prstGeom prst="leftBrace">
            <a:avLst/>
          </a:prstGeom>
          <a:ln w="28575">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98">
              <a:solidFill>
                <a:prstClr val="black"/>
              </a:solidFill>
            </a:endParaRPr>
          </a:p>
        </p:txBody>
      </p:sp>
      <p:sp>
        <p:nvSpPr>
          <p:cNvPr id="40980" name="TextBox 20">
            <a:extLst>
              <a:ext uri="{FF2B5EF4-FFF2-40B4-BE49-F238E27FC236}">
                <a16:creationId xmlns:a16="http://schemas.microsoft.com/office/drawing/2014/main" id="{7EAEB7EC-D468-1D60-392F-1A2A3A94A167}"/>
              </a:ext>
            </a:extLst>
          </p:cNvPr>
          <p:cNvSpPr txBox="1">
            <a:spLocks noChangeArrowheads="1"/>
          </p:cNvSpPr>
          <p:nvPr/>
        </p:nvSpPr>
        <p:spPr bwMode="auto">
          <a:xfrm rot="-5400000">
            <a:off x="1432045" y="2954167"/>
            <a:ext cx="963790"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b="1">
                <a:solidFill>
                  <a:srgbClr val="4F6228"/>
                </a:solidFill>
              </a:rPr>
              <a:t>Revenue</a:t>
            </a:r>
          </a:p>
        </p:txBody>
      </p:sp>
      <p:sp>
        <p:nvSpPr>
          <p:cNvPr id="22" name="Left Brace 21">
            <a:extLst>
              <a:ext uri="{FF2B5EF4-FFF2-40B4-BE49-F238E27FC236}">
                <a16:creationId xmlns:a16="http://schemas.microsoft.com/office/drawing/2014/main" id="{7C9E8EDD-DB79-C974-FE43-718BDCD65526}"/>
              </a:ext>
            </a:extLst>
          </p:cNvPr>
          <p:cNvSpPr/>
          <p:nvPr/>
        </p:nvSpPr>
        <p:spPr>
          <a:xfrm>
            <a:off x="2056962" y="4634573"/>
            <a:ext cx="235123" cy="1494610"/>
          </a:xfrm>
          <a:prstGeom prst="leftBrace">
            <a:avLst/>
          </a:prstGeom>
          <a:ln w="28575">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698">
              <a:solidFill>
                <a:prstClr val="black"/>
              </a:solidFill>
            </a:endParaRPr>
          </a:p>
        </p:txBody>
      </p:sp>
      <p:sp>
        <p:nvSpPr>
          <p:cNvPr id="40982" name="TextBox 22">
            <a:extLst>
              <a:ext uri="{FF2B5EF4-FFF2-40B4-BE49-F238E27FC236}">
                <a16:creationId xmlns:a16="http://schemas.microsoft.com/office/drawing/2014/main" id="{B3AE3A53-89BC-FF5D-47C7-6B5753E53368}"/>
              </a:ext>
            </a:extLst>
          </p:cNvPr>
          <p:cNvSpPr txBox="1">
            <a:spLocks noChangeArrowheads="1"/>
          </p:cNvSpPr>
          <p:nvPr/>
        </p:nvSpPr>
        <p:spPr bwMode="auto">
          <a:xfrm rot="-5400000">
            <a:off x="1162142" y="5068784"/>
            <a:ext cx="1494610"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b="1">
                <a:solidFill>
                  <a:srgbClr val="C00000"/>
                </a:solidFill>
              </a:rPr>
              <a:t>Expenditure</a:t>
            </a:r>
          </a:p>
        </p:txBody>
      </p:sp>
      <p:cxnSp>
        <p:nvCxnSpPr>
          <p:cNvPr id="25" name="Straight Arrow Connector 24">
            <a:extLst>
              <a:ext uri="{FF2B5EF4-FFF2-40B4-BE49-F238E27FC236}">
                <a16:creationId xmlns:a16="http://schemas.microsoft.com/office/drawing/2014/main" id="{2EC13B19-EF9A-C1E7-522E-849896C65794}"/>
              </a:ext>
            </a:extLst>
          </p:cNvPr>
          <p:cNvCxnSpPr>
            <a:stCxn id="17" idx="1"/>
          </p:cNvCxnSpPr>
          <p:nvPr/>
        </p:nvCxnSpPr>
        <p:spPr>
          <a:xfrm>
            <a:off x="4881443" y="2467538"/>
            <a:ext cx="0" cy="1331371"/>
          </a:xfrm>
          <a:prstGeom prst="straightConnector1">
            <a:avLst/>
          </a:prstGeom>
          <a:ln w="28575">
            <a:solidFill>
              <a:schemeClr val="accent6">
                <a:lumMod val="75000"/>
              </a:schemeClr>
            </a:solidFill>
            <a:headEnd type="triangl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27" name="Elbow Connector 26">
            <a:extLst>
              <a:ext uri="{FF2B5EF4-FFF2-40B4-BE49-F238E27FC236}">
                <a16:creationId xmlns:a16="http://schemas.microsoft.com/office/drawing/2014/main" id="{620347A7-ED5E-9EA1-103E-3EB5FD5CA73C}"/>
              </a:ext>
            </a:extLst>
          </p:cNvPr>
          <p:cNvCxnSpPr>
            <a:stCxn id="4" idx="1"/>
            <a:endCxn id="5" idx="3"/>
          </p:cNvCxnSpPr>
          <p:nvPr/>
        </p:nvCxnSpPr>
        <p:spPr>
          <a:xfrm rot="10800000">
            <a:off x="3470701" y="2698169"/>
            <a:ext cx="871606" cy="1383787"/>
          </a:xfrm>
          <a:prstGeom prst="bentConnector3">
            <a:avLst/>
          </a:prstGeom>
          <a:ln w="28575">
            <a:solidFill>
              <a:schemeClr val="accent3">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Elbow Connector 28">
            <a:extLst>
              <a:ext uri="{FF2B5EF4-FFF2-40B4-BE49-F238E27FC236}">
                <a16:creationId xmlns:a16="http://schemas.microsoft.com/office/drawing/2014/main" id="{63AF60EA-6072-4BC4-C23E-154D028BA0D2}"/>
              </a:ext>
            </a:extLst>
          </p:cNvPr>
          <p:cNvCxnSpPr>
            <a:stCxn id="4" idx="1"/>
            <a:endCxn id="6" idx="3"/>
          </p:cNvCxnSpPr>
          <p:nvPr/>
        </p:nvCxnSpPr>
        <p:spPr>
          <a:xfrm rot="10800000">
            <a:off x="3470701" y="3581757"/>
            <a:ext cx="871606" cy="500200"/>
          </a:xfrm>
          <a:prstGeom prst="bentConnector3">
            <a:avLst/>
          </a:prstGeom>
          <a:ln w="28575">
            <a:solidFill>
              <a:schemeClr val="accent3">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08E574E2-D064-2CCC-CF3C-76D10BE6C8E7}"/>
              </a:ext>
            </a:extLst>
          </p:cNvPr>
          <p:cNvCxnSpPr>
            <a:stCxn id="4" idx="1"/>
            <a:endCxn id="7" idx="3"/>
          </p:cNvCxnSpPr>
          <p:nvPr/>
        </p:nvCxnSpPr>
        <p:spPr>
          <a:xfrm rot="10800000" flipV="1">
            <a:off x="3446739" y="4081956"/>
            <a:ext cx="895568" cy="790735"/>
          </a:xfrm>
          <a:prstGeom prst="bentConnector3">
            <a:avLst>
              <a:gd name="adj1" fmla="val 50000"/>
            </a:avLst>
          </a:prstGeom>
          <a:ln w="28575">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9132CABD-7987-C704-E61A-BFD648B996F4}"/>
              </a:ext>
            </a:extLst>
          </p:cNvPr>
          <p:cNvCxnSpPr>
            <a:stCxn id="4" idx="1"/>
            <a:endCxn id="8" idx="3"/>
          </p:cNvCxnSpPr>
          <p:nvPr/>
        </p:nvCxnSpPr>
        <p:spPr>
          <a:xfrm rot="10800000" flipV="1">
            <a:off x="3446739" y="4081956"/>
            <a:ext cx="895568" cy="1809106"/>
          </a:xfrm>
          <a:prstGeom prst="bentConnector3">
            <a:avLst>
              <a:gd name="adj1" fmla="val 50000"/>
            </a:avLst>
          </a:prstGeom>
          <a:ln w="28575">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1AF697B-FC92-BD5B-1DEF-EADD84EB5A23}"/>
              </a:ext>
            </a:extLst>
          </p:cNvPr>
          <p:cNvCxnSpPr>
            <a:stCxn id="11" idx="3"/>
          </p:cNvCxnSpPr>
          <p:nvPr/>
        </p:nvCxnSpPr>
        <p:spPr>
          <a:xfrm flipV="1">
            <a:off x="5709618" y="4353024"/>
            <a:ext cx="0" cy="146765"/>
          </a:xfrm>
          <a:prstGeom prst="straightConnector1">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Elbow Connector 42">
            <a:extLst>
              <a:ext uri="{FF2B5EF4-FFF2-40B4-BE49-F238E27FC236}">
                <a16:creationId xmlns:a16="http://schemas.microsoft.com/office/drawing/2014/main" id="{3C7E7FF4-3B14-BFB2-0F3B-A75096B32D97}"/>
              </a:ext>
            </a:extLst>
          </p:cNvPr>
          <p:cNvCxnSpPr>
            <a:stCxn id="11" idx="1"/>
            <a:endCxn id="10" idx="0"/>
          </p:cNvCxnSpPr>
          <p:nvPr/>
        </p:nvCxnSpPr>
        <p:spPr>
          <a:xfrm rot="5400000">
            <a:off x="5198935" y="4950567"/>
            <a:ext cx="350440" cy="670927"/>
          </a:xfrm>
          <a:prstGeom prst="bentConnector3">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AB3DD577-10FD-C789-7B2E-3E4AC1C4209B}"/>
              </a:ext>
            </a:extLst>
          </p:cNvPr>
          <p:cNvCxnSpPr>
            <a:stCxn id="11" idx="1"/>
            <a:endCxn id="13" idx="0"/>
          </p:cNvCxnSpPr>
          <p:nvPr/>
        </p:nvCxnSpPr>
        <p:spPr>
          <a:xfrm rot="16200000" flipH="1">
            <a:off x="6692797" y="4127634"/>
            <a:ext cx="350440" cy="2316795"/>
          </a:xfrm>
          <a:prstGeom prst="bentConnector3">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CA15485E-A7C9-54A6-F906-00C5DED5DAB7}"/>
              </a:ext>
            </a:extLst>
          </p:cNvPr>
          <p:cNvCxnSpPr>
            <a:stCxn id="13" idx="0"/>
          </p:cNvCxnSpPr>
          <p:nvPr/>
        </p:nvCxnSpPr>
        <p:spPr>
          <a:xfrm flipV="1">
            <a:off x="8026413" y="4353023"/>
            <a:ext cx="0" cy="1108227"/>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F25E1515-47C5-7CEF-AB62-C397A6D31F14}"/>
              </a:ext>
            </a:extLst>
          </p:cNvPr>
          <p:cNvCxnSpPr/>
          <p:nvPr/>
        </p:nvCxnSpPr>
        <p:spPr>
          <a:xfrm flipV="1">
            <a:off x="6515329" y="4353024"/>
            <a:ext cx="0" cy="1105232"/>
          </a:xfrm>
          <a:prstGeom prst="straightConnector1">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A9B7F1FC-35C1-4BF0-61FB-4BBF93BE5883}"/>
              </a:ext>
            </a:extLst>
          </p:cNvPr>
          <p:cNvCxnSpPr>
            <a:stCxn id="10" idx="0"/>
          </p:cNvCxnSpPr>
          <p:nvPr/>
        </p:nvCxnSpPr>
        <p:spPr>
          <a:xfrm flipV="1">
            <a:off x="5038691" y="4353023"/>
            <a:ext cx="0" cy="1108227"/>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Elbow Connector 56">
            <a:extLst>
              <a:ext uri="{FF2B5EF4-FFF2-40B4-BE49-F238E27FC236}">
                <a16:creationId xmlns:a16="http://schemas.microsoft.com/office/drawing/2014/main" id="{10B4C711-5862-D9DE-B6A8-51A80B971AF7}"/>
              </a:ext>
            </a:extLst>
          </p:cNvPr>
          <p:cNvCxnSpPr>
            <a:stCxn id="10" idx="3"/>
            <a:endCxn id="8" idx="2"/>
          </p:cNvCxnSpPr>
          <p:nvPr/>
        </p:nvCxnSpPr>
        <p:spPr>
          <a:xfrm rot="5400000" flipH="1">
            <a:off x="3862323" y="5135521"/>
            <a:ext cx="11981" cy="1999302"/>
          </a:xfrm>
          <a:prstGeom prst="bentConnector3">
            <a:avLst>
              <a:gd name="adj1" fmla="val -1740918"/>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Elbow Connector 58">
            <a:extLst>
              <a:ext uri="{FF2B5EF4-FFF2-40B4-BE49-F238E27FC236}">
                <a16:creationId xmlns:a16="http://schemas.microsoft.com/office/drawing/2014/main" id="{F0B3E89D-C4CA-3291-9FE2-D6F391C30070}"/>
              </a:ext>
            </a:extLst>
          </p:cNvPr>
          <p:cNvCxnSpPr>
            <a:stCxn id="12" idx="3"/>
            <a:endCxn id="8" idx="2"/>
          </p:cNvCxnSpPr>
          <p:nvPr/>
        </p:nvCxnSpPr>
        <p:spPr>
          <a:xfrm rot="5400000" flipH="1">
            <a:off x="4611126" y="4386721"/>
            <a:ext cx="8986" cy="3493911"/>
          </a:xfrm>
          <a:prstGeom prst="bentConnector3">
            <a:avLst>
              <a:gd name="adj1" fmla="val -2432432"/>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8FBF4866-D6AC-3856-2FEE-C9C367F01842}"/>
              </a:ext>
            </a:extLst>
          </p:cNvPr>
          <p:cNvCxnSpPr>
            <a:stCxn id="13" idx="3"/>
            <a:endCxn id="8" idx="2"/>
          </p:cNvCxnSpPr>
          <p:nvPr/>
        </p:nvCxnSpPr>
        <p:spPr>
          <a:xfrm rot="5400000" flipH="1">
            <a:off x="5356932" y="3640912"/>
            <a:ext cx="11981" cy="4988521"/>
          </a:xfrm>
          <a:prstGeom prst="bentConnector3">
            <a:avLst>
              <a:gd name="adj1" fmla="val -1740918"/>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Elbow Connector 69">
            <a:extLst>
              <a:ext uri="{FF2B5EF4-FFF2-40B4-BE49-F238E27FC236}">
                <a16:creationId xmlns:a16="http://schemas.microsoft.com/office/drawing/2014/main" id="{5ECA2250-2FA5-2CAA-0540-E6E272C27C69}"/>
              </a:ext>
            </a:extLst>
          </p:cNvPr>
          <p:cNvCxnSpPr>
            <a:stCxn id="4" idx="0"/>
            <a:endCxn id="18" idx="2"/>
          </p:cNvCxnSpPr>
          <p:nvPr/>
        </p:nvCxnSpPr>
        <p:spPr>
          <a:xfrm rot="5400000" flipH="1" flipV="1">
            <a:off x="6044334" y="3179649"/>
            <a:ext cx="1033347" cy="226138"/>
          </a:xfrm>
          <a:prstGeom prst="bentConnector3">
            <a:avLst/>
          </a:prstGeom>
          <a:ln w="28575">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Elbow Connector 71">
            <a:extLst>
              <a:ext uri="{FF2B5EF4-FFF2-40B4-BE49-F238E27FC236}">
                <a16:creationId xmlns:a16="http://schemas.microsoft.com/office/drawing/2014/main" id="{47F46765-731B-CAF3-7D44-6E0D163EAA83}"/>
              </a:ext>
            </a:extLst>
          </p:cNvPr>
          <p:cNvCxnSpPr>
            <a:stCxn id="19" idx="2"/>
          </p:cNvCxnSpPr>
          <p:nvPr/>
        </p:nvCxnSpPr>
        <p:spPr>
          <a:xfrm rot="5400000">
            <a:off x="8330426" y="2803001"/>
            <a:ext cx="1024362" cy="970448"/>
          </a:xfrm>
          <a:prstGeom prst="bentConnector3">
            <a:avLst/>
          </a:prstGeom>
          <a:ln w="28575">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B3C13D8B-9B4E-0090-21EA-9649973E74A3}"/>
              </a:ext>
            </a:extLst>
          </p:cNvPr>
          <p:cNvCxnSpPr>
            <a:stCxn id="4" idx="3"/>
            <a:endCxn id="9" idx="2"/>
          </p:cNvCxnSpPr>
          <p:nvPr/>
        </p:nvCxnSpPr>
        <p:spPr>
          <a:xfrm flipV="1">
            <a:off x="8553570" y="4072971"/>
            <a:ext cx="1094749" cy="8986"/>
          </a:xfrm>
          <a:prstGeom prst="straightConnector1">
            <a:avLst/>
          </a:prstGeom>
          <a:ln w="28575">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71" name="Group 170">
            <a:extLst>
              <a:ext uri="{FF2B5EF4-FFF2-40B4-BE49-F238E27FC236}">
                <a16:creationId xmlns:a16="http://schemas.microsoft.com/office/drawing/2014/main" id="{935EAFAA-9A51-5C6C-EBF0-AC5325125181}"/>
              </a:ext>
            </a:extLst>
          </p:cNvPr>
          <p:cNvGrpSpPr>
            <a:grpSpLocks/>
          </p:cNvGrpSpPr>
          <p:nvPr/>
        </p:nvGrpSpPr>
        <p:grpSpPr bwMode="auto">
          <a:xfrm>
            <a:off x="5058162" y="3551804"/>
            <a:ext cx="5105334" cy="2864918"/>
            <a:chOff x="109538" y="1137051"/>
            <a:chExt cx="8882062" cy="4883150"/>
          </a:xfrm>
        </p:grpSpPr>
        <p:sp>
          <p:nvSpPr>
            <p:cNvPr id="41004" name="Content Placeholder 4">
              <a:extLst>
                <a:ext uri="{FF2B5EF4-FFF2-40B4-BE49-F238E27FC236}">
                  <a16:creationId xmlns:a16="http://schemas.microsoft.com/office/drawing/2014/main" id="{17CF82A1-1BAD-F647-8813-5DCB8DE91E70}"/>
                </a:ext>
              </a:extLst>
            </p:cNvPr>
            <p:cNvSpPr>
              <a:spLocks/>
            </p:cNvSpPr>
            <p:nvPr/>
          </p:nvSpPr>
          <p:spPr bwMode="auto">
            <a:xfrm>
              <a:off x="468313" y="1137051"/>
              <a:ext cx="4217987"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251" tIns="43125" rIns="86251" bIns="43125"/>
            <a:lstStyle>
              <a:lvl1pPr marL="342900" indent="-342900"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eaLnBrk="0" hangingPunct="0">
                <a:spcBef>
                  <a:spcPts val="1698"/>
                </a:spcBef>
              </a:pPr>
              <a:endParaRPr lang="en-US" altLang="en-US" sz="2642" b="1">
                <a:solidFill>
                  <a:srgbClr val="000000"/>
                </a:solidFill>
              </a:endParaRPr>
            </a:p>
          </p:txBody>
        </p:sp>
        <p:sp>
          <p:nvSpPr>
            <p:cNvPr id="173" name="AutoShape 2">
              <a:extLst>
                <a:ext uri="{FF2B5EF4-FFF2-40B4-BE49-F238E27FC236}">
                  <a16:creationId xmlns:a16="http://schemas.microsoft.com/office/drawing/2014/main" id="{3FB16EED-ADDE-53F4-46D2-05BF287CC258}"/>
                </a:ext>
              </a:extLst>
            </p:cNvPr>
            <p:cNvSpPr>
              <a:spLocks noChangeArrowheads="1"/>
            </p:cNvSpPr>
            <p:nvPr/>
          </p:nvSpPr>
          <p:spPr bwMode="auto">
            <a:xfrm>
              <a:off x="4601376" y="1195762"/>
              <a:ext cx="3686746" cy="2325430"/>
            </a:xfrm>
            <a:prstGeom prst="roundRect">
              <a:avLst>
                <a:gd name="adj" fmla="val 10921"/>
              </a:avLst>
            </a:prstGeom>
            <a:solidFill>
              <a:schemeClr val="tx2">
                <a:lumMod val="60000"/>
                <a:lumOff val="4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wrap="none" anchor="ctr"/>
            <a:lstStyle/>
            <a:p>
              <a:pPr algn="ctr">
                <a:defRPr/>
              </a:pPr>
              <a:endParaRPr lang="en-US" sz="2642">
                <a:solidFill>
                  <a:srgbClr val="000099"/>
                </a:solidFill>
              </a:endParaRPr>
            </a:p>
          </p:txBody>
        </p:sp>
        <p:sp>
          <p:nvSpPr>
            <p:cNvPr id="174" name="AutoShape 3">
              <a:extLst>
                <a:ext uri="{FF2B5EF4-FFF2-40B4-BE49-F238E27FC236}">
                  <a16:creationId xmlns:a16="http://schemas.microsoft.com/office/drawing/2014/main" id="{2950825F-E1EA-5F70-09AA-9AF7A2DC3B66}"/>
                </a:ext>
              </a:extLst>
            </p:cNvPr>
            <p:cNvSpPr>
              <a:spLocks noChangeArrowheads="1"/>
            </p:cNvSpPr>
            <p:nvPr/>
          </p:nvSpPr>
          <p:spPr bwMode="auto">
            <a:xfrm>
              <a:off x="4598770" y="3613086"/>
              <a:ext cx="3684141" cy="2325431"/>
            </a:xfrm>
            <a:prstGeom prst="roundRect">
              <a:avLst>
                <a:gd name="adj" fmla="val 10306"/>
              </a:avLst>
            </a:prstGeom>
            <a:solidFill>
              <a:schemeClr val="accent3">
                <a:lumMod val="60000"/>
                <a:lumOff val="4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wrap="none" anchor="ctr"/>
            <a:lstStyle/>
            <a:p>
              <a:pPr algn="ctr">
                <a:defRPr/>
              </a:pPr>
              <a:endParaRPr lang="en-US" sz="2642">
                <a:solidFill>
                  <a:srgbClr val="000099"/>
                </a:solidFill>
              </a:endParaRPr>
            </a:p>
          </p:txBody>
        </p:sp>
        <p:sp>
          <p:nvSpPr>
            <p:cNvPr id="175" name="AutoShape 4">
              <a:extLst>
                <a:ext uri="{FF2B5EF4-FFF2-40B4-BE49-F238E27FC236}">
                  <a16:creationId xmlns:a16="http://schemas.microsoft.com/office/drawing/2014/main" id="{62DB0DCE-5A52-45F2-34C4-E40EED73AB26}"/>
                </a:ext>
              </a:extLst>
            </p:cNvPr>
            <p:cNvSpPr>
              <a:spLocks noChangeArrowheads="1"/>
            </p:cNvSpPr>
            <p:nvPr/>
          </p:nvSpPr>
          <p:spPr bwMode="auto">
            <a:xfrm>
              <a:off x="820832" y="3613086"/>
              <a:ext cx="3686747" cy="2325431"/>
            </a:xfrm>
            <a:prstGeom prst="roundRect">
              <a:avLst>
                <a:gd name="adj" fmla="val 9694"/>
              </a:avLst>
            </a:prstGeom>
            <a:solidFill>
              <a:schemeClr val="accent6">
                <a:lumMod val="60000"/>
                <a:lumOff val="4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wrap="none" anchor="ctr"/>
            <a:lstStyle/>
            <a:p>
              <a:pPr algn="ctr">
                <a:defRPr/>
              </a:pPr>
              <a:endParaRPr lang="en-US" sz="2642">
                <a:solidFill>
                  <a:srgbClr val="000099"/>
                </a:solidFill>
              </a:endParaRPr>
            </a:p>
          </p:txBody>
        </p:sp>
        <p:sp>
          <p:nvSpPr>
            <p:cNvPr id="176" name="AutoShape 5">
              <a:extLst>
                <a:ext uri="{FF2B5EF4-FFF2-40B4-BE49-F238E27FC236}">
                  <a16:creationId xmlns:a16="http://schemas.microsoft.com/office/drawing/2014/main" id="{23604429-6736-29B6-AFBF-27EBB806F324}"/>
                </a:ext>
              </a:extLst>
            </p:cNvPr>
            <p:cNvSpPr>
              <a:spLocks noChangeArrowheads="1"/>
            </p:cNvSpPr>
            <p:nvPr/>
          </p:nvSpPr>
          <p:spPr bwMode="auto">
            <a:xfrm>
              <a:off x="820832" y="1195762"/>
              <a:ext cx="3686747" cy="2325430"/>
            </a:xfrm>
            <a:prstGeom prst="roundRect">
              <a:avLst>
                <a:gd name="adj" fmla="val 10921"/>
              </a:avLst>
            </a:prstGeom>
            <a:solidFill>
              <a:schemeClr val="accent4">
                <a:lumMod val="40000"/>
                <a:lumOff val="6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wrap="none" anchor="ctr"/>
            <a:lstStyle/>
            <a:p>
              <a:pPr>
                <a:defRPr/>
              </a:pPr>
              <a:endParaRPr lang="en-US" sz="2642">
                <a:solidFill>
                  <a:prstClr val="white"/>
                </a:solidFill>
              </a:endParaRPr>
            </a:p>
          </p:txBody>
        </p:sp>
        <p:sp>
          <p:nvSpPr>
            <p:cNvPr id="177" name="AutoShape 21">
              <a:extLst>
                <a:ext uri="{FF2B5EF4-FFF2-40B4-BE49-F238E27FC236}">
                  <a16:creationId xmlns:a16="http://schemas.microsoft.com/office/drawing/2014/main" id="{BEA79E20-72BF-0A7D-B6C9-D549A02A6696}"/>
                </a:ext>
              </a:extLst>
            </p:cNvPr>
            <p:cNvSpPr>
              <a:spLocks noChangeArrowheads="1"/>
            </p:cNvSpPr>
            <p:nvPr/>
          </p:nvSpPr>
          <p:spPr bwMode="auto">
            <a:xfrm rot="10800000">
              <a:off x="109538" y="1211078"/>
              <a:ext cx="635736" cy="2325430"/>
            </a:xfrm>
            <a:prstGeom prst="roundRect">
              <a:avLst>
                <a:gd name="adj" fmla="val 50000"/>
              </a:avLst>
            </a:prstGeom>
            <a:solidFill>
              <a:schemeClr val="accent4">
                <a:lumMod val="40000"/>
                <a:lumOff val="6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anchor="ctr"/>
            <a:lstStyle/>
            <a:p>
              <a:pPr algn="ctr">
                <a:defRPr/>
              </a:pPr>
              <a:r>
                <a:rPr lang="en-US" sz="1132" b="1" dirty="0">
                  <a:solidFill>
                    <a:srgbClr val="000066"/>
                  </a:solidFill>
                </a:rPr>
                <a:t>Workplace &amp; Facilities</a:t>
              </a:r>
            </a:p>
          </p:txBody>
        </p:sp>
        <p:sp>
          <p:nvSpPr>
            <p:cNvPr id="178" name="AutoShape 22">
              <a:extLst>
                <a:ext uri="{FF2B5EF4-FFF2-40B4-BE49-F238E27FC236}">
                  <a16:creationId xmlns:a16="http://schemas.microsoft.com/office/drawing/2014/main" id="{DD1539BD-FCB5-8350-9319-6DF10CDE9FC2}"/>
                </a:ext>
              </a:extLst>
            </p:cNvPr>
            <p:cNvSpPr>
              <a:spLocks noChangeArrowheads="1"/>
            </p:cNvSpPr>
            <p:nvPr/>
          </p:nvSpPr>
          <p:spPr bwMode="auto">
            <a:xfrm rot="10800000">
              <a:off x="109538" y="3610534"/>
              <a:ext cx="635736" cy="2325430"/>
            </a:xfrm>
            <a:prstGeom prst="roundRect">
              <a:avLst>
                <a:gd name="adj" fmla="val 50000"/>
              </a:avLst>
            </a:prstGeom>
            <a:solidFill>
              <a:schemeClr val="accent6">
                <a:lumMod val="60000"/>
                <a:lumOff val="4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wrap="none" anchor="ctr"/>
            <a:lstStyle/>
            <a:p>
              <a:pPr algn="ctr">
                <a:defRPr/>
              </a:pPr>
              <a:r>
                <a:rPr lang="en-US" sz="1132" b="1" dirty="0">
                  <a:solidFill>
                    <a:srgbClr val="000066"/>
                  </a:solidFill>
                </a:rPr>
                <a:t>Workplace</a:t>
              </a:r>
            </a:p>
            <a:p>
              <a:pPr algn="ctr">
                <a:defRPr/>
              </a:pPr>
              <a:r>
                <a:rPr lang="en-US" sz="1132" b="1" dirty="0">
                  <a:solidFill>
                    <a:srgbClr val="000066"/>
                  </a:solidFill>
                </a:rPr>
                <a:t>Infrastructure</a:t>
              </a:r>
            </a:p>
          </p:txBody>
        </p:sp>
        <p:sp>
          <p:nvSpPr>
            <p:cNvPr id="179" name="AutoShape 23">
              <a:extLst>
                <a:ext uri="{FF2B5EF4-FFF2-40B4-BE49-F238E27FC236}">
                  <a16:creationId xmlns:a16="http://schemas.microsoft.com/office/drawing/2014/main" id="{E32A62A8-A037-E7DD-95F5-FCFFEA8ECAFD}"/>
                </a:ext>
              </a:extLst>
            </p:cNvPr>
            <p:cNvSpPr>
              <a:spLocks noChangeArrowheads="1"/>
            </p:cNvSpPr>
            <p:nvPr/>
          </p:nvSpPr>
          <p:spPr bwMode="auto">
            <a:xfrm rot="10800000">
              <a:off x="8363681" y="1211078"/>
              <a:ext cx="627919" cy="2325430"/>
            </a:xfrm>
            <a:prstGeom prst="roundRect">
              <a:avLst>
                <a:gd name="adj" fmla="val 50000"/>
              </a:avLst>
            </a:prstGeom>
            <a:solidFill>
              <a:schemeClr val="tx2">
                <a:lumMod val="60000"/>
                <a:lumOff val="4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anchor="ctr"/>
            <a:lstStyle/>
            <a:p>
              <a:pPr algn="ctr">
                <a:defRPr/>
              </a:pPr>
              <a:r>
                <a:rPr lang="en-US" sz="1132" b="1" dirty="0">
                  <a:solidFill>
                    <a:srgbClr val="000066"/>
                  </a:solidFill>
                </a:rPr>
                <a:t>Real Estate &amp; Property</a:t>
              </a:r>
            </a:p>
          </p:txBody>
        </p:sp>
        <p:sp>
          <p:nvSpPr>
            <p:cNvPr id="180" name="AutoShape 24">
              <a:extLst>
                <a:ext uri="{FF2B5EF4-FFF2-40B4-BE49-F238E27FC236}">
                  <a16:creationId xmlns:a16="http://schemas.microsoft.com/office/drawing/2014/main" id="{EC2A3380-2DBA-044B-45BD-EE55355BBF36}"/>
                </a:ext>
              </a:extLst>
            </p:cNvPr>
            <p:cNvSpPr>
              <a:spLocks noChangeArrowheads="1"/>
            </p:cNvSpPr>
            <p:nvPr/>
          </p:nvSpPr>
          <p:spPr bwMode="auto">
            <a:xfrm rot="10800000">
              <a:off x="8363681" y="3610534"/>
              <a:ext cx="627919" cy="2325430"/>
            </a:xfrm>
            <a:prstGeom prst="roundRect">
              <a:avLst>
                <a:gd name="adj" fmla="val 50000"/>
              </a:avLst>
            </a:prstGeom>
            <a:solidFill>
              <a:schemeClr val="accent3">
                <a:lumMod val="60000"/>
                <a:lumOff val="4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anchor="ctr"/>
            <a:lstStyle/>
            <a:p>
              <a:pPr algn="ctr">
                <a:defRPr/>
              </a:pPr>
              <a:r>
                <a:rPr lang="en-US" sz="1132" b="1" dirty="0">
                  <a:solidFill>
                    <a:srgbClr val="000066"/>
                  </a:solidFill>
                </a:rPr>
                <a:t>Engineering &amp; Operations</a:t>
              </a:r>
            </a:p>
          </p:txBody>
        </p:sp>
        <p:sp>
          <p:nvSpPr>
            <p:cNvPr id="41013" name="Oval 6">
              <a:extLst>
                <a:ext uri="{FF2B5EF4-FFF2-40B4-BE49-F238E27FC236}">
                  <a16:creationId xmlns:a16="http://schemas.microsoft.com/office/drawing/2014/main" id="{A56E959C-2552-C148-5E3B-DF464EBC85D8}"/>
                </a:ext>
              </a:extLst>
            </p:cNvPr>
            <p:cNvSpPr>
              <a:spLocks noChangeAspect="1" noChangeArrowheads="1"/>
            </p:cNvSpPr>
            <p:nvPr/>
          </p:nvSpPr>
          <p:spPr bwMode="auto">
            <a:xfrm>
              <a:off x="3681413" y="2700739"/>
              <a:ext cx="1736725" cy="1736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endParaRPr lang="fr-FR" altLang="en-US" sz="1698">
                <a:solidFill>
                  <a:srgbClr val="000000"/>
                </a:solidFill>
              </a:endParaRPr>
            </a:p>
          </p:txBody>
        </p:sp>
        <p:sp>
          <p:nvSpPr>
            <p:cNvPr id="182" name="Oval 18">
              <a:extLst>
                <a:ext uri="{FF2B5EF4-FFF2-40B4-BE49-F238E27FC236}">
                  <a16:creationId xmlns:a16="http://schemas.microsoft.com/office/drawing/2014/main" id="{30527424-3E41-B817-5F95-B6B4539FD520}"/>
                </a:ext>
              </a:extLst>
            </p:cNvPr>
            <p:cNvSpPr>
              <a:spLocks noChangeAspect="1" noChangeArrowheads="1"/>
            </p:cNvSpPr>
            <p:nvPr/>
          </p:nvSpPr>
          <p:spPr bwMode="auto">
            <a:xfrm>
              <a:off x="3759200" y="2773786"/>
              <a:ext cx="1600200" cy="1600200"/>
            </a:xfrm>
            <a:prstGeom prst="ellipse">
              <a:avLst/>
            </a:prstGeom>
            <a:gradFill flip="none" rotWithShape="1">
              <a:gsLst>
                <a:gs pos="0">
                  <a:srgbClr val="4B6BAF">
                    <a:shade val="30000"/>
                    <a:satMod val="115000"/>
                  </a:srgbClr>
                </a:gs>
                <a:gs pos="50000">
                  <a:srgbClr val="4B6BAF">
                    <a:shade val="67500"/>
                    <a:satMod val="115000"/>
                  </a:srgbClr>
                </a:gs>
                <a:gs pos="100000">
                  <a:srgbClr val="4B6BAF">
                    <a:shade val="100000"/>
                    <a:satMod val="115000"/>
                  </a:srgbClr>
                </a:gs>
              </a:gsLst>
              <a:lin ang="13500000" scaled="1"/>
              <a:tileRect/>
            </a:gradFill>
            <a:ln w="5715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778777">
                <a:defRPr/>
              </a:pPr>
              <a:r>
                <a:rPr lang="en-US" sz="1132" b="1" dirty="0">
                  <a:solidFill>
                    <a:prstClr val="white"/>
                  </a:solidFill>
                </a:rPr>
                <a:t>Enterprise Information Modeling</a:t>
              </a:r>
            </a:p>
          </p:txBody>
        </p:sp>
        <p:grpSp>
          <p:nvGrpSpPr>
            <p:cNvPr id="183" name="Group 71">
              <a:extLst>
                <a:ext uri="{FF2B5EF4-FFF2-40B4-BE49-F238E27FC236}">
                  <a16:creationId xmlns:a16="http://schemas.microsoft.com/office/drawing/2014/main" id="{266C1E9B-E08E-F5A6-53D5-7DD81EF5677D}"/>
                </a:ext>
              </a:extLst>
            </p:cNvPr>
            <p:cNvGrpSpPr>
              <a:grpSpLocks noChangeAspect="1"/>
            </p:cNvGrpSpPr>
            <p:nvPr/>
          </p:nvGrpSpPr>
          <p:grpSpPr bwMode="auto">
            <a:xfrm>
              <a:off x="3210455" y="2210944"/>
              <a:ext cx="2708509" cy="2706789"/>
              <a:chOff x="3290138" y="2451041"/>
              <a:chExt cx="2571751" cy="2572729"/>
            </a:xfrm>
            <a:effectLst>
              <a:outerShdw blurRad="50800" dist="38100" dir="2700000" algn="tl" rotWithShape="0">
                <a:prstClr val="black">
                  <a:alpha val="40000"/>
                </a:prstClr>
              </a:outerShdw>
            </a:effectLst>
          </p:grpSpPr>
          <p:sp>
            <p:nvSpPr>
              <p:cNvPr id="224" name="AutoShape 31">
                <a:extLst>
                  <a:ext uri="{FF2B5EF4-FFF2-40B4-BE49-F238E27FC236}">
                    <a16:creationId xmlns:a16="http://schemas.microsoft.com/office/drawing/2014/main" id="{8EFAF138-E326-0C2B-4026-08936A6ECB9D}"/>
                  </a:ext>
                </a:extLst>
              </p:cNvPr>
              <p:cNvSpPr>
                <a:spLocks noChangeAspect="1" noChangeArrowheads="1"/>
              </p:cNvSpPr>
              <p:nvPr/>
            </p:nvSpPr>
            <p:spPr bwMode="auto">
              <a:xfrm>
                <a:off x="3290138" y="2451041"/>
                <a:ext cx="2571751" cy="25727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67 w 21600"/>
                  <a:gd name="T25" fmla="*/ 3166 h 21600"/>
                  <a:gd name="T26" fmla="*/ 18433 w 21600"/>
                  <a:gd name="T27" fmla="*/ 1843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377" y="10800"/>
                    </a:moveTo>
                    <a:cubicBezTo>
                      <a:pt x="2377" y="15452"/>
                      <a:pt x="6148" y="19223"/>
                      <a:pt x="10800" y="19223"/>
                    </a:cubicBezTo>
                    <a:cubicBezTo>
                      <a:pt x="15452" y="19223"/>
                      <a:pt x="19223" y="15452"/>
                      <a:pt x="19223" y="10800"/>
                    </a:cubicBezTo>
                    <a:cubicBezTo>
                      <a:pt x="19223" y="6148"/>
                      <a:pt x="15452" y="2377"/>
                      <a:pt x="10800" y="2377"/>
                    </a:cubicBezTo>
                    <a:cubicBezTo>
                      <a:pt x="6148" y="2377"/>
                      <a:pt x="2377" y="6148"/>
                      <a:pt x="2377" y="10800"/>
                    </a:cubicBezTo>
                    <a:close/>
                  </a:path>
                </a:pathLst>
              </a:custGeom>
              <a:solidFill>
                <a:srgbClr val="4B6BAF"/>
              </a:solidFill>
              <a:ln w="9525">
                <a:noFill/>
                <a:round/>
                <a:headEnd/>
                <a:tailEnd/>
              </a:ln>
              <a:effectLst/>
            </p:spPr>
            <p:txBody>
              <a:bodyPr wrap="none" anchor="ctr"/>
              <a:lstStyle/>
              <a:p>
                <a:pPr algn="ctr">
                  <a:defRPr/>
                </a:pPr>
                <a:endParaRPr lang="es-CL" sz="1698">
                  <a:solidFill>
                    <a:prstClr val="black"/>
                  </a:solidFill>
                </a:endParaRPr>
              </a:p>
            </p:txBody>
          </p:sp>
          <p:sp>
            <p:nvSpPr>
              <p:cNvPr id="225" name="WordArt 32">
                <a:extLst>
                  <a:ext uri="{FF2B5EF4-FFF2-40B4-BE49-F238E27FC236}">
                    <a16:creationId xmlns:a16="http://schemas.microsoft.com/office/drawing/2014/main" id="{5099CA5E-5C29-4D19-4BAD-B9BD954F2C43}"/>
                  </a:ext>
                </a:extLst>
              </p:cNvPr>
              <p:cNvSpPr>
                <a:spLocks noChangeArrowheads="1" noChangeShapeType="1" noTextEdit="1"/>
              </p:cNvSpPr>
              <p:nvPr/>
            </p:nvSpPr>
            <p:spPr bwMode="auto">
              <a:xfrm rot="2700000">
                <a:off x="4563412" y="2835909"/>
                <a:ext cx="1188756" cy="549275"/>
              </a:xfrm>
              <a:prstGeom prst="rect">
                <a:avLst/>
              </a:prstGeom>
              <a:effectLst>
                <a:outerShdw blurRad="50800" dist="38100" dir="2700000" algn="tl" rotWithShape="0">
                  <a:prstClr val="black">
                    <a:alpha val="40000"/>
                  </a:prstClr>
                </a:outerShdw>
              </a:effectLst>
            </p:spPr>
            <p:txBody>
              <a:bodyPr spcFirstLastPara="1" wrap="none" fromWordArt="1">
                <a:prstTxWarp prst="textArchUp">
                  <a:avLst>
                    <a:gd name="adj" fmla="val 10800004"/>
                  </a:avLst>
                </a:prstTxWarp>
              </a:bodyPr>
              <a:lstStyle/>
              <a:p>
                <a:pPr algn="ctr">
                  <a:defRPr/>
                </a:pPr>
                <a:r>
                  <a:rPr lang="en-US" sz="1698" kern="10" spc="755" dirty="0">
                    <a:ln w="9525">
                      <a:solidFill>
                        <a:prstClr val="white"/>
                      </a:solidFill>
                      <a:round/>
                      <a:headEnd/>
                      <a:tailEnd/>
                    </a:ln>
                    <a:solidFill>
                      <a:prstClr val="white"/>
                    </a:solidFill>
                    <a:latin typeface="Arial"/>
                    <a:cs typeface="Arial"/>
                  </a:rPr>
                  <a:t>          </a:t>
                </a:r>
              </a:p>
            </p:txBody>
          </p:sp>
          <p:sp>
            <p:nvSpPr>
              <p:cNvPr id="226" name="WordArt 33">
                <a:extLst>
                  <a:ext uri="{FF2B5EF4-FFF2-40B4-BE49-F238E27FC236}">
                    <a16:creationId xmlns:a16="http://schemas.microsoft.com/office/drawing/2014/main" id="{811350E7-FD79-A455-D69F-58D2A9E7EE79}"/>
                  </a:ext>
                </a:extLst>
              </p:cNvPr>
              <p:cNvSpPr>
                <a:spLocks noChangeArrowheads="1" noChangeShapeType="1" noTextEdit="1"/>
              </p:cNvSpPr>
              <p:nvPr/>
            </p:nvSpPr>
            <p:spPr bwMode="auto">
              <a:xfrm rot="18960000">
                <a:off x="3353009" y="2856935"/>
                <a:ext cx="1270173" cy="568221"/>
              </a:xfrm>
              <a:prstGeom prst="rect">
                <a:avLst/>
              </a:prstGeom>
            </p:spPr>
            <p:txBody>
              <a:bodyPr spcFirstLastPara="1" wrap="none" fromWordArt="1">
                <a:prstTxWarp prst="textArchUp">
                  <a:avLst>
                    <a:gd name="adj" fmla="val 10800004"/>
                  </a:avLst>
                </a:prstTxWarp>
              </a:bodyPr>
              <a:lstStyle/>
              <a:p>
                <a:pPr algn="ctr">
                  <a:defRPr/>
                </a:pPr>
                <a:r>
                  <a:rPr lang="fr-FR" sz="1321" kern="10" spc="660" dirty="0">
                    <a:ln w="9525">
                      <a:solidFill>
                        <a:prstClr val="white"/>
                      </a:solidFill>
                      <a:round/>
                      <a:headEnd/>
                      <a:tailEnd/>
                    </a:ln>
                    <a:solidFill>
                      <a:prstClr val="white"/>
                    </a:solidFill>
                    <a:effectLst>
                      <a:outerShdw dist="38100" dir="2700000" algn="tl" rotWithShape="0">
                        <a:srgbClr val="000000">
                          <a:alpha val="39998"/>
                        </a:srgbClr>
                      </a:outerShdw>
                    </a:effectLst>
                    <a:latin typeface="Arial"/>
                    <a:cs typeface="Arial"/>
                  </a:rPr>
                  <a:t>Optimise</a:t>
                </a:r>
              </a:p>
            </p:txBody>
          </p:sp>
          <p:sp>
            <p:nvSpPr>
              <p:cNvPr id="227" name="WordArt 33">
                <a:extLst>
                  <a:ext uri="{FF2B5EF4-FFF2-40B4-BE49-F238E27FC236}">
                    <a16:creationId xmlns:a16="http://schemas.microsoft.com/office/drawing/2014/main" id="{3A9BB0AA-CE68-2250-A67B-27237822C122}"/>
                  </a:ext>
                </a:extLst>
              </p:cNvPr>
              <p:cNvSpPr>
                <a:spLocks noChangeArrowheads="1" noChangeShapeType="1" noTextEdit="1"/>
              </p:cNvSpPr>
              <p:nvPr/>
            </p:nvSpPr>
            <p:spPr bwMode="auto">
              <a:xfrm rot="2350559">
                <a:off x="3377122" y="4192230"/>
                <a:ext cx="1196976" cy="471933"/>
              </a:xfrm>
              <a:prstGeom prst="rect">
                <a:avLst/>
              </a:prstGeom>
            </p:spPr>
            <p:txBody>
              <a:bodyPr spcFirstLastPara="1" wrap="none" fromWordArt="1">
                <a:prstTxWarp prst="textArchDown">
                  <a:avLst>
                    <a:gd name="adj" fmla="val 0"/>
                  </a:avLst>
                </a:prstTxWarp>
              </a:bodyPr>
              <a:lstStyle/>
              <a:p>
                <a:pPr algn="ctr">
                  <a:defRPr/>
                </a:pPr>
                <a:r>
                  <a:rPr lang="fr-FR" sz="943" kern="10" spc="660" dirty="0">
                    <a:ln w="9525">
                      <a:solidFill>
                        <a:prstClr val="white"/>
                      </a:solidFill>
                      <a:round/>
                      <a:headEnd/>
                      <a:tailEnd/>
                    </a:ln>
                    <a:solidFill>
                      <a:prstClr val="white"/>
                    </a:solidFill>
                    <a:effectLst>
                      <a:outerShdw dist="38100" dir="2700000" algn="tl" rotWithShape="0">
                        <a:srgbClr val="000000">
                          <a:alpha val="39998"/>
                        </a:srgbClr>
                      </a:outerShdw>
                    </a:effectLst>
                    <a:latin typeface="Arial"/>
                    <a:cs typeface="Arial"/>
                  </a:rPr>
                  <a:t>Enable</a:t>
                </a:r>
              </a:p>
            </p:txBody>
          </p:sp>
          <p:sp>
            <p:nvSpPr>
              <p:cNvPr id="228" name="WordArt 33">
                <a:extLst>
                  <a:ext uri="{FF2B5EF4-FFF2-40B4-BE49-F238E27FC236}">
                    <a16:creationId xmlns:a16="http://schemas.microsoft.com/office/drawing/2014/main" id="{2856C693-600F-5DD1-9450-84A1BA66BE0C}"/>
                  </a:ext>
                </a:extLst>
              </p:cNvPr>
              <p:cNvSpPr>
                <a:spLocks noChangeArrowheads="1" noChangeShapeType="1" noTextEdit="1"/>
              </p:cNvSpPr>
              <p:nvPr/>
            </p:nvSpPr>
            <p:spPr bwMode="auto">
              <a:xfrm rot="18540000">
                <a:off x="4531255" y="4016470"/>
                <a:ext cx="1394006" cy="539199"/>
              </a:xfrm>
              <a:prstGeom prst="rect">
                <a:avLst/>
              </a:prstGeom>
            </p:spPr>
            <p:txBody>
              <a:bodyPr spcFirstLastPara="1" wrap="none" fromWordArt="1">
                <a:prstTxWarp prst="textArchDown">
                  <a:avLst>
                    <a:gd name="adj" fmla="val 21543096"/>
                  </a:avLst>
                </a:prstTxWarp>
              </a:bodyPr>
              <a:lstStyle/>
              <a:p>
                <a:pPr algn="ctr">
                  <a:defRPr/>
                </a:pPr>
                <a:r>
                  <a:rPr lang="fr-FR" sz="1132" kern="10" spc="660" dirty="0">
                    <a:ln w="9525">
                      <a:solidFill>
                        <a:prstClr val="white"/>
                      </a:solidFill>
                      <a:round/>
                      <a:headEnd/>
                      <a:tailEnd/>
                    </a:ln>
                    <a:solidFill>
                      <a:prstClr val="white"/>
                    </a:solidFill>
                    <a:effectLst>
                      <a:outerShdw dist="38100" dir="2700000" algn="tl" rotWithShape="0">
                        <a:srgbClr val="000000">
                          <a:alpha val="39998"/>
                        </a:srgbClr>
                      </a:outerShdw>
                    </a:effectLst>
                    <a:latin typeface="Arial"/>
                    <a:cs typeface="Arial"/>
                  </a:rPr>
                  <a:t>Preserve</a:t>
                </a:r>
              </a:p>
            </p:txBody>
          </p:sp>
          <p:sp>
            <p:nvSpPr>
              <p:cNvPr id="229" name="Half Frame 228">
                <a:extLst>
                  <a:ext uri="{FF2B5EF4-FFF2-40B4-BE49-F238E27FC236}">
                    <a16:creationId xmlns:a16="http://schemas.microsoft.com/office/drawing/2014/main" id="{B7CB0AE3-43BF-E490-BFB0-E81E6ACBEB87}"/>
                  </a:ext>
                </a:extLst>
              </p:cNvPr>
              <p:cNvSpPr/>
              <p:nvPr/>
            </p:nvSpPr>
            <p:spPr bwMode="auto">
              <a:xfrm rot="18819926">
                <a:off x="4483727" y="2484850"/>
                <a:ext cx="182880" cy="182880"/>
              </a:xfrm>
              <a:prstGeom prst="halfFram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lstStyle/>
              <a:p>
                <a:pPr>
                  <a:defRPr/>
                </a:pPr>
                <a:endParaRPr lang="en-US" sz="1698">
                  <a:solidFill>
                    <a:srgbClr val="000066"/>
                  </a:solidFill>
                </a:endParaRPr>
              </a:p>
            </p:txBody>
          </p:sp>
          <p:sp>
            <p:nvSpPr>
              <p:cNvPr id="230" name="Half Frame 229">
                <a:extLst>
                  <a:ext uri="{FF2B5EF4-FFF2-40B4-BE49-F238E27FC236}">
                    <a16:creationId xmlns:a16="http://schemas.microsoft.com/office/drawing/2014/main" id="{E2A5BE7D-C770-3732-AC7D-E34DE811A48E}"/>
                  </a:ext>
                </a:extLst>
              </p:cNvPr>
              <p:cNvSpPr/>
              <p:nvPr/>
            </p:nvSpPr>
            <p:spPr bwMode="auto">
              <a:xfrm rot="2619926">
                <a:off x="5629018" y="3650243"/>
                <a:ext cx="182880" cy="182880"/>
              </a:xfrm>
              <a:prstGeom prst="halfFram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lstStyle/>
              <a:p>
                <a:pPr>
                  <a:defRPr/>
                </a:pPr>
                <a:endParaRPr lang="en-US" sz="1698">
                  <a:solidFill>
                    <a:srgbClr val="000066"/>
                  </a:solidFill>
                </a:endParaRPr>
              </a:p>
            </p:txBody>
          </p:sp>
          <p:sp>
            <p:nvSpPr>
              <p:cNvPr id="231" name="Half Frame 230">
                <a:extLst>
                  <a:ext uri="{FF2B5EF4-FFF2-40B4-BE49-F238E27FC236}">
                    <a16:creationId xmlns:a16="http://schemas.microsoft.com/office/drawing/2014/main" id="{F0ACE300-67BF-51CB-2D49-491002F3A9CA}"/>
                  </a:ext>
                </a:extLst>
              </p:cNvPr>
              <p:cNvSpPr/>
              <p:nvPr/>
            </p:nvSpPr>
            <p:spPr bwMode="auto">
              <a:xfrm rot="18980074" flipV="1">
                <a:off x="3337851" y="3653038"/>
                <a:ext cx="182880" cy="182880"/>
              </a:xfrm>
              <a:prstGeom prst="halfFram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lstStyle/>
              <a:p>
                <a:pPr>
                  <a:defRPr/>
                </a:pPr>
                <a:endParaRPr lang="en-US" sz="1698">
                  <a:solidFill>
                    <a:srgbClr val="000066"/>
                  </a:solidFill>
                </a:endParaRPr>
              </a:p>
            </p:txBody>
          </p:sp>
          <p:sp>
            <p:nvSpPr>
              <p:cNvPr id="232" name="Half Frame 231">
                <a:extLst>
                  <a:ext uri="{FF2B5EF4-FFF2-40B4-BE49-F238E27FC236}">
                    <a16:creationId xmlns:a16="http://schemas.microsoft.com/office/drawing/2014/main" id="{4476630C-C571-2EAF-DACF-DCB253FE6AC2}"/>
                  </a:ext>
                </a:extLst>
              </p:cNvPr>
              <p:cNvSpPr/>
              <p:nvPr/>
            </p:nvSpPr>
            <p:spPr bwMode="auto">
              <a:xfrm rot="2780074" flipH="1">
                <a:off x="4486016" y="4800340"/>
                <a:ext cx="182880" cy="182880"/>
              </a:xfrm>
              <a:prstGeom prst="halfFram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lstStyle/>
              <a:p>
                <a:pPr>
                  <a:defRPr/>
                </a:pPr>
                <a:endParaRPr lang="en-US" sz="1698">
                  <a:solidFill>
                    <a:srgbClr val="000066"/>
                  </a:solidFill>
                </a:endParaRPr>
              </a:p>
            </p:txBody>
          </p:sp>
          <p:sp>
            <p:nvSpPr>
              <p:cNvPr id="233" name="WordArt 33">
                <a:extLst>
                  <a:ext uri="{FF2B5EF4-FFF2-40B4-BE49-F238E27FC236}">
                    <a16:creationId xmlns:a16="http://schemas.microsoft.com/office/drawing/2014/main" id="{1A833CFD-1AA3-5057-D5F1-46788CBD8FE5}"/>
                  </a:ext>
                </a:extLst>
              </p:cNvPr>
              <p:cNvSpPr>
                <a:spLocks noChangeArrowheads="1" noChangeShapeType="1" noTextEdit="1"/>
              </p:cNvSpPr>
              <p:nvPr/>
            </p:nvSpPr>
            <p:spPr bwMode="auto">
              <a:xfrm rot="2760000">
                <a:off x="4527326" y="2850254"/>
                <a:ext cx="1265730" cy="574900"/>
              </a:xfrm>
              <a:prstGeom prst="rect">
                <a:avLst/>
              </a:prstGeom>
            </p:spPr>
            <p:txBody>
              <a:bodyPr spcFirstLastPara="1" wrap="none" fromWordArt="1">
                <a:prstTxWarp prst="textArchUp">
                  <a:avLst>
                    <a:gd name="adj" fmla="val 10800004"/>
                  </a:avLst>
                </a:prstTxWarp>
              </a:bodyPr>
              <a:lstStyle/>
              <a:p>
                <a:pPr algn="ctr">
                  <a:defRPr/>
                </a:pPr>
                <a:r>
                  <a:rPr lang="fr-FR" sz="1132" kern="10" spc="660" dirty="0">
                    <a:ln w="9525">
                      <a:solidFill>
                        <a:prstClr val="white"/>
                      </a:solidFill>
                      <a:round/>
                      <a:headEnd/>
                      <a:tailEnd/>
                    </a:ln>
                    <a:solidFill>
                      <a:prstClr val="white"/>
                    </a:solidFill>
                    <a:effectLst>
                      <a:outerShdw dist="38100" dir="2700000" algn="tl" rotWithShape="0">
                        <a:srgbClr val="000000">
                          <a:alpha val="39998"/>
                        </a:srgbClr>
                      </a:outerShdw>
                    </a:effectLst>
                    <a:latin typeface="Arial"/>
                    <a:cs typeface="Arial"/>
                  </a:rPr>
                  <a:t>Allocate</a:t>
                </a:r>
              </a:p>
            </p:txBody>
          </p:sp>
        </p:grpSp>
        <p:grpSp>
          <p:nvGrpSpPr>
            <p:cNvPr id="41018" name="Group 79">
              <a:extLst>
                <a:ext uri="{FF2B5EF4-FFF2-40B4-BE49-F238E27FC236}">
                  <a16:creationId xmlns:a16="http://schemas.microsoft.com/office/drawing/2014/main" id="{C761AE03-F38A-70CB-4DD8-18EE5CFBF0C8}"/>
                </a:ext>
              </a:extLst>
            </p:cNvPr>
            <p:cNvGrpSpPr>
              <a:grpSpLocks/>
            </p:cNvGrpSpPr>
            <p:nvPr/>
          </p:nvGrpSpPr>
          <p:grpSpPr bwMode="auto">
            <a:xfrm>
              <a:off x="1230765" y="4969276"/>
              <a:ext cx="2749283" cy="734735"/>
              <a:chOff x="1230765" y="5121275"/>
              <a:chExt cx="2749283" cy="734735"/>
            </a:xfrm>
          </p:grpSpPr>
          <p:sp>
            <p:nvSpPr>
              <p:cNvPr id="41054" name="Text Box 57">
                <a:extLst>
                  <a:ext uri="{FF2B5EF4-FFF2-40B4-BE49-F238E27FC236}">
                    <a16:creationId xmlns:a16="http://schemas.microsoft.com/office/drawing/2014/main" id="{EF8F026A-F644-0692-E88E-A5AD7F26149F}"/>
                  </a:ext>
                </a:extLst>
              </p:cNvPr>
              <p:cNvSpPr txBox="1">
                <a:spLocks noChangeAspect="1" noChangeArrowheads="1"/>
              </p:cNvSpPr>
              <p:nvPr/>
            </p:nvSpPr>
            <p:spPr bwMode="auto">
              <a:xfrm flipH="1">
                <a:off x="1230765" y="5121275"/>
                <a:ext cx="1999798" cy="70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r>
                  <a:rPr lang="en-US" altLang="en-US" sz="1038" b="1">
                    <a:solidFill>
                      <a:srgbClr val="000066"/>
                    </a:solidFill>
                  </a:rPr>
                  <a:t>Asset Management</a:t>
                </a:r>
              </a:p>
            </p:txBody>
          </p:sp>
          <p:grpSp>
            <p:nvGrpSpPr>
              <p:cNvPr id="41055" name="Group 62">
                <a:extLst>
                  <a:ext uri="{FF2B5EF4-FFF2-40B4-BE49-F238E27FC236}">
                    <a16:creationId xmlns:a16="http://schemas.microsoft.com/office/drawing/2014/main" id="{6C2F24F4-E149-5341-9D16-3BB44BC78278}"/>
                  </a:ext>
                </a:extLst>
              </p:cNvPr>
              <p:cNvGrpSpPr>
                <a:grpSpLocks/>
              </p:cNvGrpSpPr>
              <p:nvPr/>
            </p:nvGrpSpPr>
            <p:grpSpPr bwMode="auto">
              <a:xfrm>
                <a:off x="3273610" y="5170210"/>
                <a:ext cx="706438" cy="685800"/>
                <a:chOff x="3327400" y="5089525"/>
                <a:chExt cx="706438" cy="685800"/>
              </a:xfrm>
            </p:grpSpPr>
            <p:sp>
              <p:nvSpPr>
                <p:cNvPr id="223" name="Oval 71">
                  <a:extLst>
                    <a:ext uri="{FF2B5EF4-FFF2-40B4-BE49-F238E27FC236}">
                      <a16:creationId xmlns:a16="http://schemas.microsoft.com/office/drawing/2014/main" id="{75C7C6B3-2509-F3C1-3B60-E4CE7737C34C}"/>
                    </a:ext>
                  </a:extLst>
                </p:cNvPr>
                <p:cNvSpPr>
                  <a:spLocks noChangeAspect="1"/>
                </p:cNvSpPr>
                <p:nvPr/>
              </p:nvSpPr>
              <p:spPr bwMode="auto">
                <a:xfrm>
                  <a:off x="3328979" y="5088338"/>
                  <a:ext cx="685240" cy="686654"/>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a:solidFill>
                      <a:srgbClr val="000066"/>
                    </a:solidFill>
                  </a:endParaRPr>
                </a:p>
              </p:txBody>
            </p:sp>
          </p:grpSp>
          <p:pic>
            <p:nvPicPr>
              <p:cNvPr id="41056" name="Picture 9">
                <a:extLst>
                  <a:ext uri="{FF2B5EF4-FFF2-40B4-BE49-F238E27FC236}">
                    <a16:creationId xmlns:a16="http://schemas.microsoft.com/office/drawing/2014/main" id="{A4208AAD-EAF8-A0F7-E8B8-FF6662A537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4063" y="5278438"/>
                <a:ext cx="68580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019" name="Group 80">
              <a:extLst>
                <a:ext uri="{FF2B5EF4-FFF2-40B4-BE49-F238E27FC236}">
                  <a16:creationId xmlns:a16="http://schemas.microsoft.com/office/drawing/2014/main" id="{B53CDBA8-FDB5-07E5-B251-7E9B453490E1}"/>
                </a:ext>
              </a:extLst>
            </p:cNvPr>
            <p:cNvGrpSpPr>
              <a:grpSpLocks/>
            </p:cNvGrpSpPr>
            <p:nvPr/>
          </p:nvGrpSpPr>
          <p:grpSpPr bwMode="auto">
            <a:xfrm>
              <a:off x="844550" y="3948514"/>
              <a:ext cx="2159000" cy="720257"/>
              <a:chOff x="844550" y="4100513"/>
              <a:chExt cx="2159000" cy="720257"/>
            </a:xfrm>
          </p:grpSpPr>
          <p:sp>
            <p:nvSpPr>
              <p:cNvPr id="41050" name="Text Box 36">
                <a:extLst>
                  <a:ext uri="{FF2B5EF4-FFF2-40B4-BE49-F238E27FC236}">
                    <a16:creationId xmlns:a16="http://schemas.microsoft.com/office/drawing/2014/main" id="{B7C951F7-6B2A-AE34-962F-C39DDBD5726B}"/>
                  </a:ext>
                </a:extLst>
              </p:cNvPr>
              <p:cNvSpPr txBox="1">
                <a:spLocks noChangeAspect="1" noChangeArrowheads="1"/>
              </p:cNvSpPr>
              <p:nvPr/>
            </p:nvSpPr>
            <p:spPr bwMode="auto">
              <a:xfrm flipH="1">
                <a:off x="844550" y="4100513"/>
                <a:ext cx="1441451" cy="70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r>
                  <a:rPr lang="en-US" altLang="en-US" sz="1038" b="1">
                    <a:solidFill>
                      <a:srgbClr val="000066"/>
                    </a:solidFill>
                  </a:rPr>
                  <a:t>Workplace Services</a:t>
                </a:r>
              </a:p>
            </p:txBody>
          </p:sp>
          <p:grpSp>
            <p:nvGrpSpPr>
              <p:cNvPr id="41051" name="Group 63">
                <a:extLst>
                  <a:ext uri="{FF2B5EF4-FFF2-40B4-BE49-F238E27FC236}">
                    <a16:creationId xmlns:a16="http://schemas.microsoft.com/office/drawing/2014/main" id="{917A6292-458D-287A-8A39-CDCF1A5EAE65}"/>
                  </a:ext>
                </a:extLst>
              </p:cNvPr>
              <p:cNvGrpSpPr>
                <a:grpSpLocks/>
              </p:cNvGrpSpPr>
              <p:nvPr/>
            </p:nvGrpSpPr>
            <p:grpSpPr bwMode="auto">
              <a:xfrm>
                <a:off x="2317750" y="4134970"/>
                <a:ext cx="685800" cy="685800"/>
                <a:chOff x="2317750" y="4117975"/>
                <a:chExt cx="685800" cy="685800"/>
              </a:xfrm>
            </p:grpSpPr>
            <p:sp>
              <p:nvSpPr>
                <p:cNvPr id="219" name="Oval 218">
                  <a:extLst>
                    <a:ext uri="{FF2B5EF4-FFF2-40B4-BE49-F238E27FC236}">
                      <a16:creationId xmlns:a16="http://schemas.microsoft.com/office/drawing/2014/main" id="{4967E3CC-D040-AD44-E1B1-1FA0CF66D680}"/>
                    </a:ext>
                  </a:extLst>
                </p:cNvPr>
                <p:cNvSpPr>
                  <a:spLocks noChangeAspect="1"/>
                </p:cNvSpPr>
                <p:nvPr/>
              </p:nvSpPr>
              <p:spPr bwMode="auto">
                <a:xfrm>
                  <a:off x="2318981" y="4118219"/>
                  <a:ext cx="685239" cy="686652"/>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a:solidFill>
                      <a:srgbClr val="000066"/>
                    </a:solidFill>
                  </a:endParaRPr>
                </a:p>
              </p:txBody>
            </p:sp>
          </p:grpSp>
          <p:pic>
            <p:nvPicPr>
              <p:cNvPr id="41052" name="Picture 8">
                <a:extLst>
                  <a:ext uri="{FF2B5EF4-FFF2-40B4-BE49-F238E27FC236}">
                    <a16:creationId xmlns:a16="http://schemas.microsoft.com/office/drawing/2014/main" id="{E89B54F4-163F-1B40-1619-986FCD797C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7763" y="4225925"/>
                <a:ext cx="51117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020" name="Group 78">
              <a:extLst>
                <a:ext uri="{FF2B5EF4-FFF2-40B4-BE49-F238E27FC236}">
                  <a16:creationId xmlns:a16="http://schemas.microsoft.com/office/drawing/2014/main" id="{526809EB-D03F-BF2A-CE25-086AD5D7E103}"/>
                </a:ext>
              </a:extLst>
            </p:cNvPr>
            <p:cNvGrpSpPr>
              <a:grpSpLocks/>
            </p:cNvGrpSpPr>
            <p:nvPr/>
          </p:nvGrpSpPr>
          <p:grpSpPr bwMode="auto">
            <a:xfrm>
              <a:off x="5159367" y="4912126"/>
              <a:ext cx="2612839" cy="974106"/>
              <a:chOff x="5145273" y="5064125"/>
              <a:chExt cx="2612839" cy="974106"/>
            </a:xfrm>
          </p:grpSpPr>
          <p:sp>
            <p:nvSpPr>
              <p:cNvPr id="41046" name="Text Box 68">
                <a:extLst>
                  <a:ext uri="{FF2B5EF4-FFF2-40B4-BE49-F238E27FC236}">
                    <a16:creationId xmlns:a16="http://schemas.microsoft.com/office/drawing/2014/main" id="{6701DEF8-6549-0233-945F-8E942A81F97F}"/>
                  </a:ext>
                </a:extLst>
              </p:cNvPr>
              <p:cNvSpPr txBox="1">
                <a:spLocks noChangeAspect="1" noChangeArrowheads="1"/>
              </p:cNvSpPr>
              <p:nvPr/>
            </p:nvSpPr>
            <p:spPr bwMode="auto">
              <a:xfrm flipH="1">
                <a:off x="5867401" y="5064125"/>
                <a:ext cx="1890711" cy="974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038" b="1">
                    <a:solidFill>
                      <a:srgbClr val="000066"/>
                    </a:solidFill>
                  </a:rPr>
                  <a:t>Building Operations</a:t>
                </a:r>
              </a:p>
              <a:p>
                <a:endParaRPr lang="en-US" altLang="en-US" sz="1038">
                  <a:solidFill>
                    <a:srgbClr val="000066"/>
                  </a:solidFill>
                </a:endParaRPr>
              </a:p>
            </p:txBody>
          </p:sp>
          <p:grpSp>
            <p:nvGrpSpPr>
              <p:cNvPr id="41047" name="Group 61">
                <a:extLst>
                  <a:ext uri="{FF2B5EF4-FFF2-40B4-BE49-F238E27FC236}">
                    <a16:creationId xmlns:a16="http://schemas.microsoft.com/office/drawing/2014/main" id="{9C9E8B23-A8F4-16A6-70BC-D73375D110EF}"/>
                  </a:ext>
                </a:extLst>
              </p:cNvPr>
              <p:cNvGrpSpPr>
                <a:grpSpLocks/>
              </p:cNvGrpSpPr>
              <p:nvPr/>
            </p:nvGrpSpPr>
            <p:grpSpPr bwMode="auto">
              <a:xfrm>
                <a:off x="5145273" y="5172635"/>
                <a:ext cx="685800" cy="685800"/>
                <a:chOff x="5199063" y="5065713"/>
                <a:chExt cx="685800" cy="685800"/>
              </a:xfrm>
            </p:grpSpPr>
            <p:sp>
              <p:nvSpPr>
                <p:cNvPr id="215" name="Oval 214">
                  <a:extLst>
                    <a:ext uri="{FF2B5EF4-FFF2-40B4-BE49-F238E27FC236}">
                      <a16:creationId xmlns:a16="http://schemas.microsoft.com/office/drawing/2014/main" id="{F95C1904-23BF-48D9-405A-320C045198C2}"/>
                    </a:ext>
                  </a:extLst>
                </p:cNvPr>
                <p:cNvSpPr>
                  <a:spLocks noChangeAspect="1"/>
                </p:cNvSpPr>
                <p:nvPr/>
              </p:nvSpPr>
              <p:spPr bwMode="auto">
                <a:xfrm>
                  <a:off x="5198644" y="5067205"/>
                  <a:ext cx="685239" cy="684100"/>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a:solidFill>
                      <a:srgbClr val="000066"/>
                    </a:solidFill>
                  </a:endParaRPr>
                </a:p>
              </p:txBody>
            </p:sp>
          </p:grpSp>
          <p:pic>
            <p:nvPicPr>
              <p:cNvPr id="41048" name="Picture 7">
                <a:extLst>
                  <a:ext uri="{FF2B5EF4-FFF2-40B4-BE49-F238E27FC236}">
                    <a16:creationId xmlns:a16="http://schemas.microsoft.com/office/drawing/2014/main" id="{60DFB66B-2353-6EDE-9A91-18467DF10E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2713" y="5240338"/>
                <a:ext cx="54610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021" name="Group 77">
              <a:extLst>
                <a:ext uri="{FF2B5EF4-FFF2-40B4-BE49-F238E27FC236}">
                  <a16:creationId xmlns:a16="http://schemas.microsoft.com/office/drawing/2014/main" id="{D03036E7-6302-CD3B-CA0A-5D7971D2102C}"/>
                </a:ext>
              </a:extLst>
            </p:cNvPr>
            <p:cNvGrpSpPr>
              <a:grpSpLocks/>
            </p:cNvGrpSpPr>
            <p:nvPr/>
          </p:nvGrpSpPr>
          <p:grpSpPr bwMode="auto">
            <a:xfrm>
              <a:off x="6019800" y="3582454"/>
              <a:ext cx="2263111" cy="937056"/>
              <a:chOff x="6059488" y="3996391"/>
              <a:chExt cx="2263111" cy="937056"/>
            </a:xfrm>
          </p:grpSpPr>
          <p:sp>
            <p:nvSpPr>
              <p:cNvPr id="208" name="Text Box 59">
                <a:extLst>
                  <a:ext uri="{FF2B5EF4-FFF2-40B4-BE49-F238E27FC236}">
                    <a16:creationId xmlns:a16="http://schemas.microsoft.com/office/drawing/2014/main" id="{E133806D-6D46-40BA-CA47-C6263331D3BA}"/>
                  </a:ext>
                </a:extLst>
              </p:cNvPr>
              <p:cNvSpPr txBox="1">
                <a:spLocks noChangeAspect="1" noChangeArrowheads="1"/>
              </p:cNvSpPr>
              <p:nvPr/>
            </p:nvSpPr>
            <p:spPr bwMode="auto">
              <a:xfrm flipH="1">
                <a:off x="6780158" y="3996391"/>
                <a:ext cx="1542441" cy="937056"/>
              </a:xfrm>
              <a:prstGeom prst="rect">
                <a:avLst/>
              </a:prstGeom>
              <a:noFill/>
              <a:ln w="9525" algn="ctr">
                <a:noFill/>
                <a:miter lim="800000"/>
                <a:headEnd/>
                <a:tailEnd/>
              </a:ln>
            </p:spPr>
            <p:txBody>
              <a:bodyPr>
                <a:spAutoFit/>
              </a:bodyPr>
              <a:lstStyle/>
              <a:p>
                <a:pPr>
                  <a:defRPr/>
                </a:pPr>
                <a:r>
                  <a:rPr lang="en-US" sz="991" b="1" dirty="0">
                    <a:solidFill>
                      <a:srgbClr val="000066"/>
                    </a:solidFill>
                  </a:rPr>
                  <a:t>Risk Management</a:t>
                </a:r>
              </a:p>
            </p:txBody>
          </p:sp>
          <p:grpSp>
            <p:nvGrpSpPr>
              <p:cNvPr id="41043" name="Group 60">
                <a:extLst>
                  <a:ext uri="{FF2B5EF4-FFF2-40B4-BE49-F238E27FC236}">
                    <a16:creationId xmlns:a16="http://schemas.microsoft.com/office/drawing/2014/main" id="{BC8DCA8D-EF5A-C8FC-62AF-35170CEE13F1}"/>
                  </a:ext>
                </a:extLst>
              </p:cNvPr>
              <p:cNvGrpSpPr>
                <a:grpSpLocks/>
              </p:cNvGrpSpPr>
              <p:nvPr/>
            </p:nvGrpSpPr>
            <p:grpSpPr bwMode="auto">
              <a:xfrm>
                <a:off x="6060048" y="4122645"/>
                <a:ext cx="712787" cy="704850"/>
                <a:chOff x="5973763" y="4044950"/>
                <a:chExt cx="712787" cy="704850"/>
              </a:xfrm>
            </p:grpSpPr>
            <p:sp>
              <p:nvSpPr>
                <p:cNvPr id="211" name="Oval 72">
                  <a:extLst>
                    <a:ext uri="{FF2B5EF4-FFF2-40B4-BE49-F238E27FC236}">
                      <a16:creationId xmlns:a16="http://schemas.microsoft.com/office/drawing/2014/main" id="{8FDFBA09-F0D4-BC50-CE32-F5576B0BB3AB}"/>
                    </a:ext>
                  </a:extLst>
                </p:cNvPr>
                <p:cNvSpPr>
                  <a:spLocks noChangeAspect="1"/>
                </p:cNvSpPr>
                <p:nvPr/>
              </p:nvSpPr>
              <p:spPr bwMode="auto">
                <a:xfrm>
                  <a:off x="5998213" y="4064196"/>
                  <a:ext cx="687845" cy="684101"/>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a:solidFill>
                      <a:srgbClr val="000066"/>
                    </a:solidFill>
                  </a:endParaRPr>
                </a:p>
              </p:txBody>
            </p:sp>
          </p:grpSp>
          <p:pic>
            <p:nvPicPr>
              <p:cNvPr id="41044" name="Picture 6">
                <a:extLst>
                  <a:ext uri="{FF2B5EF4-FFF2-40B4-BE49-F238E27FC236}">
                    <a16:creationId xmlns:a16="http://schemas.microsoft.com/office/drawing/2014/main" id="{DBB6CDB5-16A3-4768-8FBC-76AB8A7161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9488" y="4122738"/>
                <a:ext cx="62547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022" name="Group 81">
              <a:extLst>
                <a:ext uri="{FF2B5EF4-FFF2-40B4-BE49-F238E27FC236}">
                  <a16:creationId xmlns:a16="http://schemas.microsoft.com/office/drawing/2014/main" id="{C9A5C02A-0F40-5730-B587-08C9C2ECC161}"/>
                </a:ext>
              </a:extLst>
            </p:cNvPr>
            <p:cNvGrpSpPr>
              <a:grpSpLocks/>
            </p:cNvGrpSpPr>
            <p:nvPr/>
          </p:nvGrpSpPr>
          <p:grpSpPr bwMode="auto">
            <a:xfrm>
              <a:off x="591265" y="2277775"/>
              <a:ext cx="2430215" cy="793971"/>
              <a:chOff x="591265" y="2429774"/>
              <a:chExt cx="2430215" cy="793971"/>
            </a:xfrm>
          </p:grpSpPr>
          <p:sp>
            <p:nvSpPr>
              <p:cNvPr id="41038" name="Text Box 38">
                <a:extLst>
                  <a:ext uri="{FF2B5EF4-FFF2-40B4-BE49-F238E27FC236}">
                    <a16:creationId xmlns:a16="http://schemas.microsoft.com/office/drawing/2014/main" id="{BC20E95D-787E-8FB1-88F5-029A6236C5D8}"/>
                  </a:ext>
                </a:extLst>
              </p:cNvPr>
              <p:cNvSpPr txBox="1">
                <a:spLocks noChangeAspect="1" noChangeArrowheads="1"/>
              </p:cNvSpPr>
              <p:nvPr/>
            </p:nvSpPr>
            <p:spPr bwMode="auto">
              <a:xfrm flipH="1">
                <a:off x="591265" y="2429774"/>
                <a:ext cx="1695202" cy="70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r>
                  <a:rPr lang="en-US" altLang="en-US" sz="1038" b="1">
                    <a:solidFill>
                      <a:srgbClr val="000066"/>
                    </a:solidFill>
                  </a:rPr>
                  <a:t>Move Management</a:t>
                </a:r>
                <a:endParaRPr lang="en-US" altLang="en-US" sz="1038">
                  <a:solidFill>
                    <a:srgbClr val="000066"/>
                  </a:solidFill>
                </a:endParaRPr>
              </a:p>
            </p:txBody>
          </p:sp>
          <p:grpSp>
            <p:nvGrpSpPr>
              <p:cNvPr id="41039" name="Group 56">
                <a:extLst>
                  <a:ext uri="{FF2B5EF4-FFF2-40B4-BE49-F238E27FC236}">
                    <a16:creationId xmlns:a16="http://schemas.microsoft.com/office/drawing/2014/main" id="{9B670B0C-2803-86F8-CA47-BDF4156D7610}"/>
                  </a:ext>
                </a:extLst>
              </p:cNvPr>
              <p:cNvGrpSpPr>
                <a:grpSpLocks/>
              </p:cNvGrpSpPr>
              <p:nvPr/>
            </p:nvGrpSpPr>
            <p:grpSpPr bwMode="auto">
              <a:xfrm>
                <a:off x="2335680" y="2537945"/>
                <a:ext cx="685800" cy="685800"/>
                <a:chOff x="2317750" y="2555875"/>
                <a:chExt cx="685800" cy="685800"/>
              </a:xfrm>
            </p:grpSpPr>
            <p:sp>
              <p:nvSpPr>
                <p:cNvPr id="207" name="Oval 71">
                  <a:extLst>
                    <a:ext uri="{FF2B5EF4-FFF2-40B4-BE49-F238E27FC236}">
                      <a16:creationId xmlns:a16="http://schemas.microsoft.com/office/drawing/2014/main" id="{473DD293-1088-E17D-E5F0-FF5BE6C16D12}"/>
                    </a:ext>
                  </a:extLst>
                </p:cNvPr>
                <p:cNvSpPr>
                  <a:spLocks noChangeAspect="1"/>
                </p:cNvSpPr>
                <p:nvPr/>
              </p:nvSpPr>
              <p:spPr bwMode="auto">
                <a:xfrm>
                  <a:off x="2319289" y="2555208"/>
                  <a:ext cx="685240" cy="686652"/>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a:solidFill>
                      <a:srgbClr val="000066"/>
                    </a:solidFill>
                  </a:endParaRPr>
                </a:p>
              </p:txBody>
            </p:sp>
          </p:grpSp>
          <p:pic>
            <p:nvPicPr>
              <p:cNvPr id="41040" name="Picture 5">
                <a:extLst>
                  <a:ext uri="{FF2B5EF4-FFF2-40B4-BE49-F238E27FC236}">
                    <a16:creationId xmlns:a16="http://schemas.microsoft.com/office/drawing/2014/main" id="{237E9539-94BC-3816-CF2B-874C770143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97125" y="2633663"/>
                <a:ext cx="563563"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023" name="Group 82">
              <a:extLst>
                <a:ext uri="{FF2B5EF4-FFF2-40B4-BE49-F238E27FC236}">
                  <a16:creationId xmlns:a16="http://schemas.microsoft.com/office/drawing/2014/main" id="{ECB94FA9-0E38-6CDE-D93E-B248E1788D8B}"/>
                </a:ext>
              </a:extLst>
            </p:cNvPr>
            <p:cNvGrpSpPr>
              <a:grpSpLocks/>
            </p:cNvGrpSpPr>
            <p:nvPr/>
          </p:nvGrpSpPr>
          <p:grpSpPr bwMode="auto">
            <a:xfrm>
              <a:off x="1422790" y="1281514"/>
              <a:ext cx="2548575" cy="974106"/>
              <a:chOff x="1422790" y="1433513"/>
              <a:chExt cx="2548575" cy="974106"/>
            </a:xfrm>
          </p:grpSpPr>
          <p:sp>
            <p:nvSpPr>
              <p:cNvPr id="41034" name="Text Box 29">
                <a:extLst>
                  <a:ext uri="{FF2B5EF4-FFF2-40B4-BE49-F238E27FC236}">
                    <a16:creationId xmlns:a16="http://schemas.microsoft.com/office/drawing/2014/main" id="{A0E36938-4847-0098-FA14-C8839B34C495}"/>
                  </a:ext>
                </a:extLst>
              </p:cNvPr>
              <p:cNvSpPr txBox="1">
                <a:spLocks noChangeAspect="1" noChangeArrowheads="1"/>
              </p:cNvSpPr>
              <p:nvPr/>
            </p:nvSpPr>
            <p:spPr bwMode="auto">
              <a:xfrm flipH="1">
                <a:off x="1422790" y="1433513"/>
                <a:ext cx="1815709" cy="974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r>
                  <a:rPr lang="en-US" altLang="en-US" sz="1038" b="1">
                    <a:solidFill>
                      <a:srgbClr val="000066"/>
                    </a:solidFill>
                  </a:rPr>
                  <a:t>Space Planning &amp; Management</a:t>
                </a:r>
              </a:p>
            </p:txBody>
          </p:sp>
          <p:grpSp>
            <p:nvGrpSpPr>
              <p:cNvPr id="41035" name="Group 57">
                <a:extLst>
                  <a:ext uri="{FF2B5EF4-FFF2-40B4-BE49-F238E27FC236}">
                    <a16:creationId xmlns:a16="http://schemas.microsoft.com/office/drawing/2014/main" id="{64B45613-24FE-C6D3-2D98-F32068900E6F}"/>
                  </a:ext>
                </a:extLst>
              </p:cNvPr>
              <p:cNvGrpSpPr>
                <a:grpSpLocks/>
              </p:cNvGrpSpPr>
              <p:nvPr/>
            </p:nvGrpSpPr>
            <p:grpSpPr bwMode="auto">
              <a:xfrm>
                <a:off x="3285565" y="1541930"/>
                <a:ext cx="685800" cy="685800"/>
                <a:chOff x="3271838" y="1457325"/>
                <a:chExt cx="685800" cy="685800"/>
              </a:xfrm>
            </p:grpSpPr>
            <p:sp>
              <p:nvSpPr>
                <p:cNvPr id="203" name="Oval 202">
                  <a:extLst>
                    <a:ext uri="{FF2B5EF4-FFF2-40B4-BE49-F238E27FC236}">
                      <a16:creationId xmlns:a16="http://schemas.microsoft.com/office/drawing/2014/main" id="{E86F4895-4209-3CA9-4E15-5ECB5134E58D}"/>
                    </a:ext>
                  </a:extLst>
                </p:cNvPr>
                <p:cNvSpPr>
                  <a:spLocks noChangeAspect="1"/>
                </p:cNvSpPr>
                <p:nvPr/>
              </p:nvSpPr>
              <p:spPr bwMode="auto">
                <a:xfrm>
                  <a:off x="3271884" y="1457155"/>
                  <a:ext cx="685240" cy="686652"/>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a:solidFill>
                      <a:srgbClr val="000066"/>
                    </a:solidFill>
                  </a:endParaRPr>
                </a:p>
              </p:txBody>
            </p:sp>
          </p:grpSp>
          <p:pic>
            <p:nvPicPr>
              <p:cNvPr id="41036" name="Picture 4">
                <a:extLst>
                  <a:ext uri="{FF2B5EF4-FFF2-40B4-BE49-F238E27FC236}">
                    <a16:creationId xmlns:a16="http://schemas.microsoft.com/office/drawing/2014/main" id="{7D367F98-4965-A0D1-75B2-E3076E1D24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8038" y="1625600"/>
                <a:ext cx="550862"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024" name="Group 76">
              <a:extLst>
                <a:ext uri="{FF2B5EF4-FFF2-40B4-BE49-F238E27FC236}">
                  <a16:creationId xmlns:a16="http://schemas.microsoft.com/office/drawing/2014/main" id="{A3FB75D9-8724-AAFA-2B2B-6A5D9EC753DF}"/>
                </a:ext>
              </a:extLst>
            </p:cNvPr>
            <p:cNvGrpSpPr>
              <a:grpSpLocks/>
            </p:cNvGrpSpPr>
            <p:nvPr/>
          </p:nvGrpSpPr>
          <p:grpSpPr bwMode="auto">
            <a:xfrm>
              <a:off x="6066865" y="2318913"/>
              <a:ext cx="2296815" cy="1196949"/>
              <a:chOff x="6066865" y="2470912"/>
              <a:chExt cx="2296815" cy="1196949"/>
            </a:xfrm>
          </p:grpSpPr>
          <p:sp>
            <p:nvSpPr>
              <p:cNvPr id="196" name="Text Box 59">
                <a:extLst>
                  <a:ext uri="{FF2B5EF4-FFF2-40B4-BE49-F238E27FC236}">
                    <a16:creationId xmlns:a16="http://schemas.microsoft.com/office/drawing/2014/main" id="{F7A06C2C-4A66-BFAA-811B-D263C52BD3C8}"/>
                  </a:ext>
                </a:extLst>
              </p:cNvPr>
              <p:cNvSpPr txBox="1">
                <a:spLocks noChangeAspect="1" noChangeArrowheads="1"/>
              </p:cNvSpPr>
              <p:nvPr/>
            </p:nvSpPr>
            <p:spPr bwMode="auto">
              <a:xfrm flipH="1">
                <a:off x="6810818" y="2470912"/>
                <a:ext cx="1552862" cy="1196949"/>
              </a:xfrm>
              <a:prstGeom prst="rect">
                <a:avLst/>
              </a:prstGeom>
              <a:noFill/>
              <a:ln w="9525" algn="ctr">
                <a:noFill/>
                <a:miter lim="800000"/>
                <a:headEnd/>
                <a:tailEnd/>
              </a:ln>
            </p:spPr>
            <p:txBody>
              <a:bodyPr>
                <a:spAutoFit/>
              </a:bodyPr>
              <a:lstStyle/>
              <a:p>
                <a:pPr>
                  <a:defRPr/>
                </a:pPr>
                <a:r>
                  <a:rPr lang="en-US" sz="991" b="1" dirty="0">
                    <a:solidFill>
                      <a:srgbClr val="000066"/>
                    </a:solidFill>
                  </a:rPr>
                  <a:t>Capital Project Management</a:t>
                </a:r>
              </a:p>
            </p:txBody>
          </p:sp>
          <p:grpSp>
            <p:nvGrpSpPr>
              <p:cNvPr id="41031" name="Group 59">
                <a:extLst>
                  <a:ext uri="{FF2B5EF4-FFF2-40B4-BE49-F238E27FC236}">
                    <a16:creationId xmlns:a16="http://schemas.microsoft.com/office/drawing/2014/main" id="{142117D3-1030-A46F-35CE-0DC93B455A99}"/>
                  </a:ext>
                </a:extLst>
              </p:cNvPr>
              <p:cNvGrpSpPr>
                <a:grpSpLocks/>
              </p:cNvGrpSpPr>
              <p:nvPr/>
            </p:nvGrpSpPr>
            <p:grpSpPr bwMode="auto">
              <a:xfrm>
                <a:off x="6066865" y="2538413"/>
                <a:ext cx="685800" cy="685800"/>
                <a:chOff x="6010275" y="2538413"/>
                <a:chExt cx="685800" cy="685800"/>
              </a:xfrm>
            </p:grpSpPr>
            <p:sp>
              <p:nvSpPr>
                <p:cNvPr id="199" name="Oval 72">
                  <a:extLst>
                    <a:ext uri="{FF2B5EF4-FFF2-40B4-BE49-F238E27FC236}">
                      <a16:creationId xmlns:a16="http://schemas.microsoft.com/office/drawing/2014/main" id="{66F8A6DC-78DF-15AA-4A06-1D3F02677708}"/>
                    </a:ext>
                  </a:extLst>
                </p:cNvPr>
                <p:cNvSpPr>
                  <a:spLocks noChangeAspect="1"/>
                </p:cNvSpPr>
                <p:nvPr/>
              </p:nvSpPr>
              <p:spPr bwMode="auto">
                <a:xfrm>
                  <a:off x="6009062" y="2537279"/>
                  <a:ext cx="685239" cy="686652"/>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a:solidFill>
                      <a:srgbClr val="000066"/>
                    </a:solidFill>
                  </a:endParaRPr>
                </a:p>
              </p:txBody>
            </p:sp>
          </p:grpSp>
          <p:pic>
            <p:nvPicPr>
              <p:cNvPr id="41032" name="Picture 3">
                <a:extLst>
                  <a:ext uri="{FF2B5EF4-FFF2-40B4-BE49-F238E27FC236}">
                    <a16:creationId xmlns:a16="http://schemas.microsoft.com/office/drawing/2014/main" id="{508D365A-034E-3FFB-4169-28E62200EA2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30925" y="2609850"/>
                <a:ext cx="590550"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025" name="Group 73">
              <a:extLst>
                <a:ext uri="{FF2B5EF4-FFF2-40B4-BE49-F238E27FC236}">
                  <a16:creationId xmlns:a16="http://schemas.microsoft.com/office/drawing/2014/main" id="{4ABA9B91-11B7-A991-3791-D05DFCA85B00}"/>
                </a:ext>
              </a:extLst>
            </p:cNvPr>
            <p:cNvGrpSpPr>
              <a:grpSpLocks/>
            </p:cNvGrpSpPr>
            <p:nvPr/>
          </p:nvGrpSpPr>
          <p:grpSpPr bwMode="auto">
            <a:xfrm>
              <a:off x="5172635" y="1257701"/>
              <a:ext cx="2817409" cy="974107"/>
              <a:chOff x="5172635" y="1409700"/>
              <a:chExt cx="2817409" cy="974107"/>
            </a:xfrm>
          </p:grpSpPr>
          <p:sp>
            <p:nvSpPr>
              <p:cNvPr id="41026" name="Text Box 53">
                <a:extLst>
                  <a:ext uri="{FF2B5EF4-FFF2-40B4-BE49-F238E27FC236}">
                    <a16:creationId xmlns:a16="http://schemas.microsoft.com/office/drawing/2014/main" id="{551A3F7E-F8DF-42C4-C5FE-22D287CA87C5}"/>
                  </a:ext>
                </a:extLst>
              </p:cNvPr>
              <p:cNvSpPr txBox="1">
                <a:spLocks noChangeAspect="1" noChangeArrowheads="1"/>
              </p:cNvSpPr>
              <p:nvPr/>
            </p:nvSpPr>
            <p:spPr bwMode="auto">
              <a:xfrm flipH="1">
                <a:off x="5900739" y="1409700"/>
                <a:ext cx="2089305" cy="97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038" b="1">
                    <a:solidFill>
                      <a:srgbClr val="000066"/>
                    </a:solidFill>
                  </a:rPr>
                  <a:t>Real Estate Portfolio Management</a:t>
                </a:r>
              </a:p>
            </p:txBody>
          </p:sp>
          <p:grpSp>
            <p:nvGrpSpPr>
              <p:cNvPr id="41027" name="Group 58">
                <a:extLst>
                  <a:ext uri="{FF2B5EF4-FFF2-40B4-BE49-F238E27FC236}">
                    <a16:creationId xmlns:a16="http://schemas.microsoft.com/office/drawing/2014/main" id="{64EFEB9A-EE0A-670C-58CE-1988B8B820B9}"/>
                  </a:ext>
                </a:extLst>
              </p:cNvPr>
              <p:cNvGrpSpPr>
                <a:grpSpLocks/>
              </p:cNvGrpSpPr>
              <p:nvPr/>
            </p:nvGrpSpPr>
            <p:grpSpPr bwMode="auto">
              <a:xfrm>
                <a:off x="5172635" y="1573305"/>
                <a:ext cx="685800" cy="685800"/>
                <a:chOff x="4933950" y="1519238"/>
                <a:chExt cx="685800" cy="685800"/>
              </a:xfrm>
            </p:grpSpPr>
            <p:sp>
              <p:nvSpPr>
                <p:cNvPr id="195" name="Oval 194">
                  <a:extLst>
                    <a:ext uri="{FF2B5EF4-FFF2-40B4-BE49-F238E27FC236}">
                      <a16:creationId xmlns:a16="http://schemas.microsoft.com/office/drawing/2014/main" id="{1E310FF3-AA3B-A5B9-07C4-24859C880463}"/>
                    </a:ext>
                  </a:extLst>
                </p:cNvPr>
                <p:cNvSpPr>
                  <a:spLocks noChangeAspect="1"/>
                </p:cNvSpPr>
                <p:nvPr/>
              </p:nvSpPr>
              <p:spPr bwMode="auto">
                <a:xfrm>
                  <a:off x="4933289" y="1518323"/>
                  <a:ext cx="685240" cy="686652"/>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a:solidFill>
                      <a:srgbClr val="000066"/>
                    </a:solidFill>
                  </a:endParaRPr>
                </a:p>
              </p:txBody>
            </p:sp>
          </p:grpSp>
          <p:pic>
            <p:nvPicPr>
              <p:cNvPr id="41028" name="Picture 2">
                <a:extLst>
                  <a:ext uri="{FF2B5EF4-FFF2-40B4-BE49-F238E27FC236}">
                    <a16:creationId xmlns:a16="http://schemas.microsoft.com/office/drawing/2014/main" id="{48CECFB5-7797-B28B-AED6-1C3FA7509F7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45100" y="1598613"/>
                <a:ext cx="528638"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41001" name="Text Placeholder 3">
            <a:extLst>
              <a:ext uri="{FF2B5EF4-FFF2-40B4-BE49-F238E27FC236}">
                <a16:creationId xmlns:a16="http://schemas.microsoft.com/office/drawing/2014/main" id="{2A00E61A-8B54-DF8D-186C-2644587D20DC}"/>
              </a:ext>
            </a:extLst>
          </p:cNvPr>
          <p:cNvSpPr txBox="1">
            <a:spLocks/>
          </p:cNvSpPr>
          <p:nvPr/>
        </p:nvSpPr>
        <p:spPr bwMode="auto">
          <a:xfrm>
            <a:off x="1866766" y="715340"/>
            <a:ext cx="8385089" cy="378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a:spcBef>
                <a:spcPct val="20000"/>
              </a:spcBef>
              <a:buFont typeface="Arial" panose="020B0604020202020204" pitchFamily="34" charset="0"/>
              <a:buNone/>
            </a:pPr>
            <a:r>
              <a:rPr lang="en-US" altLang="en-US" sz="3396" dirty="0"/>
              <a:t>ARCHIBUS FUNCTIONALITY OVERVIEW </a:t>
            </a:r>
          </a:p>
        </p:txBody>
      </p:sp>
      <p:sp>
        <p:nvSpPr>
          <p:cNvPr id="104" name="Rectangle 103">
            <a:extLst>
              <a:ext uri="{FF2B5EF4-FFF2-40B4-BE49-F238E27FC236}">
                <a16:creationId xmlns:a16="http://schemas.microsoft.com/office/drawing/2014/main" id="{8AB10C7E-B40F-C97F-83EE-D50BA5353B23}"/>
              </a:ext>
            </a:extLst>
          </p:cNvPr>
          <p:cNvSpPr/>
          <p:nvPr/>
        </p:nvSpPr>
        <p:spPr>
          <a:xfrm>
            <a:off x="7559162" y="1576465"/>
            <a:ext cx="882089" cy="11756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98" b="1" dirty="0">
                <a:solidFill>
                  <a:srgbClr val="1F497D"/>
                </a:solidFill>
              </a:rPr>
              <a:t>C-AMP</a:t>
            </a:r>
          </a:p>
        </p:txBody>
      </p:sp>
      <p:sp>
        <p:nvSpPr>
          <p:cNvPr id="41003" name="TextBox 105">
            <a:extLst>
              <a:ext uri="{FF2B5EF4-FFF2-40B4-BE49-F238E27FC236}">
                <a16:creationId xmlns:a16="http://schemas.microsoft.com/office/drawing/2014/main" id="{03C00815-5F32-74C2-8477-C20C389D4B56}"/>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22</a:t>
            </a:r>
            <a:endParaRPr lang="en-US" altLang="en-US" sz="1698" dirty="0"/>
          </a:p>
        </p:txBody>
      </p:sp>
    </p:spTree>
    <p:extLst>
      <p:ext uri="{BB962C8B-B14F-4D97-AF65-F5344CB8AC3E}">
        <p14:creationId xmlns:p14="http://schemas.microsoft.com/office/powerpoint/2010/main" val="361477334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32" fill="hold" nodeType="clickEffect">
                                  <p:stCondLst>
                                    <p:cond delay="0"/>
                                  </p:stCondLst>
                                  <p:childTnLst>
                                    <p:set>
                                      <p:cBhvr>
                                        <p:cTn id="6" dur="1" fill="hold">
                                          <p:stCondLst>
                                            <p:cond delay="0"/>
                                          </p:stCondLst>
                                        </p:cTn>
                                        <p:tgtEl>
                                          <p:spTgt spid="171"/>
                                        </p:tgtEl>
                                        <p:attrNameLst>
                                          <p:attrName>style.visibility</p:attrName>
                                        </p:attrNameLst>
                                      </p:cBhvr>
                                      <p:to>
                                        <p:strVal val="visible"/>
                                      </p:to>
                                    </p:set>
                                    <p:animEffect transition="in" filter="box(out)">
                                      <p:cBhvr>
                                        <p:cTn id="7" dur="2000"/>
                                        <p:tgtEl>
                                          <p:spTgt spid="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BB507B5D-81AB-4478-5C2A-1F2992549367}"/>
              </a:ext>
            </a:extLst>
          </p:cNvPr>
          <p:cNvSpPr>
            <a:spLocks noGrp="1"/>
          </p:cNvSpPr>
          <p:nvPr>
            <p:ph type="title"/>
          </p:nvPr>
        </p:nvSpPr>
        <p:spPr bwMode="auto">
          <a:xfrm>
            <a:off x="1028105" y="2820974"/>
            <a:ext cx="9920134" cy="681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r>
              <a:rPr lang="en-US" altLang="en-US" sz="3396" dirty="0">
                <a:solidFill>
                  <a:schemeClr val="tx1"/>
                </a:solidFill>
              </a:rPr>
              <a:t>ARCHIBUS MODULE FULL SUITE</a:t>
            </a:r>
          </a:p>
        </p:txBody>
      </p:sp>
    </p:spTree>
    <p:extLst>
      <p:ext uri="{BB962C8B-B14F-4D97-AF65-F5344CB8AC3E}">
        <p14:creationId xmlns:p14="http://schemas.microsoft.com/office/powerpoint/2010/main" val="3418295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extBox 45">
            <a:extLst>
              <a:ext uri="{FF2B5EF4-FFF2-40B4-BE49-F238E27FC236}">
                <a16:creationId xmlns:a16="http://schemas.microsoft.com/office/drawing/2014/main" id="{712A820A-A104-C2DD-F160-BDBAD1C112E9}"/>
              </a:ext>
            </a:extLst>
          </p:cNvPr>
          <p:cNvSpPr txBox="1">
            <a:spLocks noChangeArrowheads="1"/>
          </p:cNvSpPr>
          <p:nvPr/>
        </p:nvSpPr>
        <p:spPr bwMode="auto">
          <a:xfrm>
            <a:off x="9869965" y="194174"/>
            <a:ext cx="1602437" cy="35362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endParaRPr lang="en-US" altLang="en-US" sz="1698"/>
          </a:p>
        </p:txBody>
      </p:sp>
      <p:sp>
        <p:nvSpPr>
          <p:cNvPr id="41987" name="Text Placeholder 3">
            <a:extLst>
              <a:ext uri="{FF2B5EF4-FFF2-40B4-BE49-F238E27FC236}">
                <a16:creationId xmlns:a16="http://schemas.microsoft.com/office/drawing/2014/main" id="{E51A50E0-0A21-6AD1-CE4B-277CF7FFDF93}"/>
              </a:ext>
            </a:extLst>
          </p:cNvPr>
          <p:cNvSpPr txBox="1">
            <a:spLocks/>
          </p:cNvSpPr>
          <p:nvPr/>
        </p:nvSpPr>
        <p:spPr bwMode="auto">
          <a:xfrm>
            <a:off x="1751449" y="258572"/>
            <a:ext cx="8385088" cy="378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a:spcBef>
                <a:spcPct val="20000"/>
              </a:spcBef>
              <a:buFont typeface="Arial" panose="020B0604020202020204" pitchFamily="34" charset="0"/>
              <a:buNone/>
            </a:pPr>
            <a:r>
              <a:rPr lang="en-US" altLang="en-US" sz="1887" b="1"/>
              <a:t>ARCHIBUS MODULE INTEGRATION</a:t>
            </a:r>
          </a:p>
        </p:txBody>
      </p:sp>
      <p:grpSp>
        <p:nvGrpSpPr>
          <p:cNvPr id="41988" name="Group 39">
            <a:extLst>
              <a:ext uri="{FF2B5EF4-FFF2-40B4-BE49-F238E27FC236}">
                <a16:creationId xmlns:a16="http://schemas.microsoft.com/office/drawing/2014/main" id="{AE094C7B-689A-2136-D8A6-D5CAF50AF758}"/>
              </a:ext>
            </a:extLst>
          </p:cNvPr>
          <p:cNvGrpSpPr>
            <a:grpSpLocks/>
          </p:cNvGrpSpPr>
          <p:nvPr/>
        </p:nvGrpSpPr>
        <p:grpSpPr bwMode="auto">
          <a:xfrm>
            <a:off x="457520" y="701862"/>
            <a:ext cx="11389283" cy="5917036"/>
            <a:chOff x="212035" y="466113"/>
            <a:chExt cx="12072731" cy="6271850"/>
          </a:xfrm>
        </p:grpSpPr>
        <p:grpSp>
          <p:nvGrpSpPr>
            <p:cNvPr id="41990" name="Group 40">
              <a:extLst>
                <a:ext uri="{FF2B5EF4-FFF2-40B4-BE49-F238E27FC236}">
                  <a16:creationId xmlns:a16="http://schemas.microsoft.com/office/drawing/2014/main" id="{3B783171-E797-1176-487C-530A7E2D1684}"/>
                </a:ext>
              </a:extLst>
            </p:cNvPr>
            <p:cNvGrpSpPr>
              <a:grpSpLocks/>
            </p:cNvGrpSpPr>
            <p:nvPr/>
          </p:nvGrpSpPr>
          <p:grpSpPr bwMode="auto">
            <a:xfrm>
              <a:off x="212035" y="466113"/>
              <a:ext cx="12072731" cy="6271850"/>
              <a:chOff x="-1" y="270998"/>
              <a:chExt cx="12192000" cy="6477930"/>
            </a:xfrm>
          </p:grpSpPr>
          <p:pic>
            <p:nvPicPr>
              <p:cNvPr id="41992" name="Picture 42">
                <a:extLst>
                  <a:ext uri="{FF2B5EF4-FFF2-40B4-BE49-F238E27FC236}">
                    <a16:creationId xmlns:a16="http://schemas.microsoft.com/office/drawing/2014/main" id="{8560D955-8742-C855-502A-27A23950137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 y="270998"/>
                <a:ext cx="12192000" cy="6477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93" name="Picture 43">
                <a:extLst>
                  <a:ext uri="{FF2B5EF4-FFF2-40B4-BE49-F238E27FC236}">
                    <a16:creationId xmlns:a16="http://schemas.microsoft.com/office/drawing/2014/main" id="{0B18224A-CB44-811C-A6F6-19ED403CAD3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64078" y="3687417"/>
                <a:ext cx="1182757" cy="67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94" name="TextBox 44">
                <a:extLst>
                  <a:ext uri="{FF2B5EF4-FFF2-40B4-BE49-F238E27FC236}">
                    <a16:creationId xmlns:a16="http://schemas.microsoft.com/office/drawing/2014/main" id="{A1B3823D-2B2A-96FF-68F2-663305824126}"/>
                  </a:ext>
                </a:extLst>
              </p:cNvPr>
              <p:cNvSpPr txBox="1">
                <a:spLocks noChangeArrowheads="1"/>
              </p:cNvSpPr>
              <p:nvPr/>
            </p:nvSpPr>
            <p:spPr bwMode="auto">
              <a:xfrm>
                <a:off x="9953675" y="5084464"/>
                <a:ext cx="2238324" cy="38714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endParaRPr lang="en-US" altLang="en-US" sz="1698"/>
              </a:p>
            </p:txBody>
          </p:sp>
        </p:grpSp>
        <p:pic>
          <p:nvPicPr>
            <p:cNvPr id="41991" name="Picture 8" descr="Image result for SAS LOGO">
              <a:extLst>
                <a:ext uri="{FF2B5EF4-FFF2-40B4-BE49-F238E27FC236}">
                  <a16:creationId xmlns:a16="http://schemas.microsoft.com/office/drawing/2014/main" id="{3FB762DE-B3A6-71CE-FC19-2205B75BB57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36964" y="4348403"/>
              <a:ext cx="1337366" cy="825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1989" name="TextBox 9">
            <a:extLst>
              <a:ext uri="{FF2B5EF4-FFF2-40B4-BE49-F238E27FC236}">
                <a16:creationId xmlns:a16="http://schemas.microsoft.com/office/drawing/2014/main" id="{CFBEBB88-92F3-88B4-5EE8-2EBF382198D7}"/>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24</a:t>
            </a:r>
            <a:endParaRPr lang="en-US" altLang="en-US" sz="1698" dirty="0"/>
          </a:p>
        </p:txBody>
      </p:sp>
    </p:spTree>
    <p:extLst>
      <p:ext uri="{BB962C8B-B14F-4D97-AF65-F5344CB8AC3E}">
        <p14:creationId xmlns:p14="http://schemas.microsoft.com/office/powerpoint/2010/main" val="1397275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a:extLst>
              <a:ext uri="{FF2B5EF4-FFF2-40B4-BE49-F238E27FC236}">
                <a16:creationId xmlns:a16="http://schemas.microsoft.com/office/drawing/2014/main" id="{4D434AA2-CEDC-39FE-6844-6D723D276C8A}"/>
              </a:ext>
            </a:extLst>
          </p:cNvPr>
          <p:cNvCxnSpPr>
            <a:cxnSpLocks/>
          </p:cNvCxnSpPr>
          <p:nvPr/>
        </p:nvCxnSpPr>
        <p:spPr>
          <a:xfrm flipV="1">
            <a:off x="810953" y="913025"/>
            <a:ext cx="0" cy="56774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E152748D-CE29-27A9-083A-0F88BFA58F78}"/>
              </a:ext>
            </a:extLst>
          </p:cNvPr>
          <p:cNvCxnSpPr>
            <a:cxnSpLocks/>
          </p:cNvCxnSpPr>
          <p:nvPr/>
        </p:nvCxnSpPr>
        <p:spPr>
          <a:xfrm>
            <a:off x="792984" y="6590444"/>
            <a:ext cx="796426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6F27362-385A-4C89-9C1F-A5E7DB2E482C}"/>
              </a:ext>
            </a:extLst>
          </p:cNvPr>
          <p:cNvSpPr/>
          <p:nvPr/>
        </p:nvSpPr>
        <p:spPr>
          <a:xfrm>
            <a:off x="226219" y="1491932"/>
            <a:ext cx="8313858" cy="498855"/>
          </a:xfrm>
          <a:prstGeom prst="rect">
            <a:avLst/>
          </a:prstGeom>
        </p:spPr>
        <p:txBody>
          <a:bodyPr wrap="square">
            <a:spAutoFit/>
          </a:bodyPr>
          <a:lstStyle/>
          <a:p>
            <a:pPr>
              <a:defRPr/>
            </a:pPr>
            <a:r>
              <a:rPr lang="en-ZA" sz="1321" b="1" i="1" dirty="0">
                <a:solidFill>
                  <a:schemeClr val="accent6">
                    <a:lumMod val="50000"/>
                  </a:schemeClr>
                </a:solidFill>
              </a:rPr>
              <a:t>Schedule</a:t>
            </a:r>
            <a:r>
              <a:rPr lang="en-ZA" sz="1321" i="1" dirty="0">
                <a:solidFill>
                  <a:schemeClr val="accent6">
                    <a:lumMod val="50000"/>
                  </a:schemeClr>
                </a:solidFill>
              </a:rPr>
              <a:t>, </a:t>
            </a:r>
            <a:r>
              <a:rPr lang="en-ZA" sz="1321" b="1" dirty="0">
                <a:solidFill>
                  <a:schemeClr val="accent6">
                    <a:lumMod val="50000"/>
                  </a:schemeClr>
                </a:solidFill>
              </a:rPr>
              <a:t>dispatch, manage, and report maintenance tasks efficiently using self-service capabilities to reduce operational costs and increase customer satisfaction</a:t>
            </a:r>
            <a:endParaRPr lang="en-US" sz="1321" b="1" dirty="0">
              <a:solidFill>
                <a:schemeClr val="accent6">
                  <a:lumMod val="50000"/>
                </a:schemeClr>
              </a:solidFill>
            </a:endParaRPr>
          </a:p>
        </p:txBody>
      </p:sp>
      <p:grpSp>
        <p:nvGrpSpPr>
          <p:cNvPr id="43013" name="Group 26">
            <a:extLst>
              <a:ext uri="{FF2B5EF4-FFF2-40B4-BE49-F238E27FC236}">
                <a16:creationId xmlns:a16="http://schemas.microsoft.com/office/drawing/2014/main" id="{91D81F3E-3A6D-70D1-C92C-5F8C86A072F3}"/>
              </a:ext>
            </a:extLst>
          </p:cNvPr>
          <p:cNvGrpSpPr>
            <a:grpSpLocks/>
          </p:cNvGrpSpPr>
          <p:nvPr/>
        </p:nvGrpSpPr>
        <p:grpSpPr bwMode="auto">
          <a:xfrm>
            <a:off x="999653" y="2798511"/>
            <a:ext cx="2081671" cy="3245335"/>
            <a:chOff x="6736947" y="4188062"/>
            <a:chExt cx="3513295" cy="2248196"/>
          </a:xfrm>
        </p:grpSpPr>
        <p:sp>
          <p:nvSpPr>
            <p:cNvPr id="7" name="Rectangle 6">
              <a:extLst>
                <a:ext uri="{FF2B5EF4-FFF2-40B4-BE49-F238E27FC236}">
                  <a16:creationId xmlns:a16="http://schemas.microsoft.com/office/drawing/2014/main" id="{6E16D6FB-4298-08EE-0659-0051D1FE1208}"/>
                </a:ext>
              </a:extLst>
            </p:cNvPr>
            <p:cNvSpPr/>
            <p:nvPr/>
          </p:nvSpPr>
          <p:spPr>
            <a:xfrm>
              <a:off x="6736947" y="4188062"/>
              <a:ext cx="3513295" cy="305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ZA" sz="1132" dirty="0">
                  <a:solidFill>
                    <a:schemeClr val="bg1"/>
                  </a:solidFill>
                  <a:latin typeface="Helvetica" pitchFamily="2" charset="0"/>
                </a:rPr>
                <a:t>Simplify the Maintenance Process</a:t>
              </a:r>
            </a:p>
          </p:txBody>
        </p:sp>
        <p:sp>
          <p:nvSpPr>
            <p:cNvPr id="8" name="Rectangle 7">
              <a:extLst>
                <a:ext uri="{FF2B5EF4-FFF2-40B4-BE49-F238E27FC236}">
                  <a16:creationId xmlns:a16="http://schemas.microsoft.com/office/drawing/2014/main" id="{31C59266-FFDC-9CE0-BF80-B60E68D6EB7A}"/>
                </a:ext>
              </a:extLst>
            </p:cNvPr>
            <p:cNvSpPr/>
            <p:nvPr/>
          </p:nvSpPr>
          <p:spPr>
            <a:xfrm>
              <a:off x="6736947" y="4521087"/>
              <a:ext cx="3513295" cy="1915171"/>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755" dirty="0">
                  <a:latin typeface="Helvetica" pitchFamily="2" charset="0"/>
                </a:rPr>
                <a:t>Enable standardized maintenance provision to reduce costs, discourage ad-hoc processes, and increase overall transparency of service delivery</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Identify when a resource is available, the projected response time, and the time to complete the task</a:t>
              </a:r>
            </a:p>
            <a:p>
              <a:pPr marL="161746" indent="-161746">
                <a:buFont typeface="Arial" panose="020B0604020202020204" pitchFamily="34" charset="0"/>
                <a:buChar char="•"/>
                <a:defRPr/>
              </a:pPr>
              <a:r>
                <a:rPr lang="en-ZA" sz="755" dirty="0">
                  <a:latin typeface="Helvetica" pitchFamily="2" charset="0"/>
                </a:rPr>
                <a:t>Approve or reject actions to maintain control over work requests using rules-based workflow</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Group work requests to work orders by priority, location, or trade enabling the most efficient dispatch and execution of work tasks</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Provide work requestors with automated email feedback at each status change</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Keep maintenance staff utilized in the field with the most current work, while getting their results in real time</a:t>
              </a:r>
            </a:p>
          </p:txBody>
        </p:sp>
      </p:grpSp>
      <p:grpSp>
        <p:nvGrpSpPr>
          <p:cNvPr id="43014" name="Group 25">
            <a:extLst>
              <a:ext uri="{FF2B5EF4-FFF2-40B4-BE49-F238E27FC236}">
                <a16:creationId xmlns:a16="http://schemas.microsoft.com/office/drawing/2014/main" id="{67166839-00E2-6581-188A-208638EBAEE6}"/>
              </a:ext>
            </a:extLst>
          </p:cNvPr>
          <p:cNvGrpSpPr>
            <a:grpSpLocks/>
          </p:cNvGrpSpPr>
          <p:nvPr/>
        </p:nvGrpSpPr>
        <p:grpSpPr bwMode="auto">
          <a:xfrm>
            <a:off x="6199335" y="4006516"/>
            <a:ext cx="2012781" cy="2890297"/>
            <a:chOff x="3216181" y="4721803"/>
            <a:chExt cx="3029197" cy="2351492"/>
          </a:xfrm>
        </p:grpSpPr>
        <p:sp>
          <p:nvSpPr>
            <p:cNvPr id="9" name="Rectangle 8">
              <a:extLst>
                <a:ext uri="{FF2B5EF4-FFF2-40B4-BE49-F238E27FC236}">
                  <a16:creationId xmlns:a16="http://schemas.microsoft.com/office/drawing/2014/main" id="{B3AF3C74-AB92-EB4F-093E-D5C75DAA01E2}"/>
                </a:ext>
              </a:extLst>
            </p:cNvPr>
            <p:cNvSpPr/>
            <p:nvPr/>
          </p:nvSpPr>
          <p:spPr>
            <a:xfrm>
              <a:off x="3240974" y="4918591"/>
              <a:ext cx="3004404" cy="2154704"/>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755" dirty="0">
                  <a:latin typeface="Helvetica" pitchFamily="2" charset="0"/>
                </a:rPr>
                <a:t> Simplify the maintenance process by organizing crafts persons into work teams, provide specific steps for estimating costs, and assign work efficiently using the Planning Board function</a:t>
              </a:r>
            </a:p>
            <a:p>
              <a:pPr marL="161746" indent="-161746">
                <a:buFont typeface="Arial" panose="020B0604020202020204" pitchFamily="34" charset="0"/>
                <a:buChar char="•"/>
                <a:defRPr/>
              </a:pPr>
              <a:r>
                <a:rPr lang="en-ZA" sz="755" dirty="0">
                  <a:latin typeface="Helvetica" pitchFamily="2" charset="0"/>
                </a:rPr>
                <a:t>Ensure the appropriate trade or service provider receives the correct maintenance requests on time, so they can take action immediately</a:t>
              </a:r>
            </a:p>
            <a:p>
              <a:pPr marL="161746" indent="-161746">
                <a:buFont typeface="Arial" panose="020B0604020202020204" pitchFamily="34" charset="0"/>
                <a:buChar char="•"/>
                <a:defRPr/>
              </a:pPr>
              <a:r>
                <a:rPr lang="en-ZA" sz="755" dirty="0">
                  <a:latin typeface="Helvetica" pitchFamily="2" charset="0"/>
                </a:rPr>
                <a:t>Automate escalations to eliminate costly delays caused by non-response of requests</a:t>
              </a:r>
            </a:p>
            <a:p>
              <a:pPr marL="161746" indent="-161746">
                <a:buFont typeface="Arial" panose="020B0604020202020204" pitchFamily="34" charset="0"/>
                <a:buChar char="•"/>
                <a:defRPr/>
              </a:pPr>
              <a:r>
                <a:rPr lang="en-ZA" sz="755" dirty="0">
                  <a:latin typeface="Helvetica" pitchFamily="2" charset="0"/>
                </a:rPr>
                <a:t>Establish workflow parameters to re-prioritize requests and move them to the top of the list as other requests are completed</a:t>
              </a:r>
            </a:p>
            <a:p>
              <a:pPr marL="161746" indent="-161746">
                <a:buFont typeface="Arial" panose="020B0604020202020204" pitchFamily="34" charset="0"/>
                <a:buChar char="•"/>
                <a:defRPr/>
              </a:pPr>
              <a:r>
                <a:rPr lang="en-ZA" sz="755" dirty="0">
                  <a:latin typeface="Helvetica" pitchFamily="2" charset="0"/>
                </a:rPr>
                <a:t>Reduce costs of responding to inquiries by using mobile and dynamic updates to a centralized status page or via automated email notification at predefined status</a:t>
              </a:r>
            </a:p>
          </p:txBody>
        </p:sp>
        <p:sp>
          <p:nvSpPr>
            <p:cNvPr id="43030" name="Rectangle 10">
              <a:extLst>
                <a:ext uri="{FF2B5EF4-FFF2-40B4-BE49-F238E27FC236}">
                  <a16:creationId xmlns:a16="http://schemas.microsoft.com/office/drawing/2014/main" id="{BA489AA1-463A-D125-FEB7-1FD9F1BAC6A2}"/>
                </a:ext>
              </a:extLst>
            </p:cNvPr>
            <p:cNvSpPr>
              <a:spLocks noChangeArrowheads="1"/>
            </p:cNvSpPr>
            <p:nvPr/>
          </p:nvSpPr>
          <p:spPr bwMode="auto">
            <a:xfrm>
              <a:off x="3216181" y="4721803"/>
              <a:ext cx="3029197" cy="21685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ZA" altLang="en-US" sz="1132">
                  <a:solidFill>
                    <a:schemeClr val="bg1"/>
                  </a:solidFill>
                  <a:latin typeface="Helvetica" pitchFamily="2" charset="0"/>
                </a:rPr>
                <a:t> Reduce Operating Costs</a:t>
              </a:r>
            </a:p>
          </p:txBody>
        </p:sp>
      </p:grpSp>
      <p:grpSp>
        <p:nvGrpSpPr>
          <p:cNvPr id="43015" name="Group 27">
            <a:extLst>
              <a:ext uri="{FF2B5EF4-FFF2-40B4-BE49-F238E27FC236}">
                <a16:creationId xmlns:a16="http://schemas.microsoft.com/office/drawing/2014/main" id="{7DEB5054-1E0F-9FAF-40E9-85FF8B74C7E8}"/>
              </a:ext>
            </a:extLst>
          </p:cNvPr>
          <p:cNvGrpSpPr>
            <a:grpSpLocks/>
          </p:cNvGrpSpPr>
          <p:nvPr/>
        </p:nvGrpSpPr>
        <p:grpSpPr bwMode="auto">
          <a:xfrm>
            <a:off x="6098681" y="1977287"/>
            <a:ext cx="2865217" cy="2202986"/>
            <a:chOff x="3652766" y="2520584"/>
            <a:chExt cx="3619309" cy="1698526"/>
          </a:xfrm>
        </p:grpSpPr>
        <p:sp>
          <p:nvSpPr>
            <p:cNvPr id="13" name="Rectangle 12">
              <a:extLst>
                <a:ext uri="{FF2B5EF4-FFF2-40B4-BE49-F238E27FC236}">
                  <a16:creationId xmlns:a16="http://schemas.microsoft.com/office/drawing/2014/main" id="{7D1BBC75-9EF8-8C19-4EE9-DB118510E124}"/>
                </a:ext>
              </a:extLst>
            </p:cNvPr>
            <p:cNvSpPr/>
            <p:nvPr/>
          </p:nvSpPr>
          <p:spPr>
            <a:xfrm>
              <a:off x="3652766" y="2804215"/>
              <a:ext cx="3618529" cy="1414895"/>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755" dirty="0">
                  <a:latin typeface="Helvetica" pitchFamily="2" charset="0"/>
                </a:rPr>
                <a:t>Assist with capital planning by reporting on equipment usage, parts, and service information</a:t>
              </a:r>
            </a:p>
            <a:p>
              <a:pPr marL="161746" indent="-161746">
                <a:buFont typeface="Arial" panose="020B0604020202020204" pitchFamily="34" charset="0"/>
                <a:buChar char="•"/>
                <a:defRPr/>
              </a:pPr>
              <a:r>
                <a:rPr lang="en-ZA" sz="755" dirty="0">
                  <a:latin typeface="Helvetica" pitchFamily="2" charset="0"/>
                </a:rPr>
                <a:t>Use summary reports to gain the proper oversight of various spending categories</a:t>
              </a:r>
            </a:p>
            <a:p>
              <a:pPr marL="161746" indent="-161746">
                <a:buFont typeface="Arial" panose="020B0604020202020204" pitchFamily="34" charset="0"/>
                <a:buChar char="•"/>
                <a:defRPr/>
              </a:pPr>
              <a:r>
                <a:rPr lang="en-ZA" sz="755" dirty="0">
                  <a:latin typeface="Helvetica" pitchFamily="2" charset="0"/>
                </a:rPr>
                <a:t>Track and report on parts inventories, equipment maintenance data, and work requests of all types</a:t>
              </a:r>
            </a:p>
            <a:p>
              <a:pPr marL="161746" indent="-161746">
                <a:buFont typeface="Arial" panose="020B0604020202020204" pitchFamily="34" charset="0"/>
                <a:buChar char="•"/>
                <a:defRPr/>
              </a:pPr>
              <a:r>
                <a:rPr lang="en-ZA" sz="755" dirty="0">
                  <a:latin typeface="Helvetica" pitchFamily="2" charset="0"/>
                </a:rPr>
                <a:t>Create reports to help allocate resources, justify additional personnel or purchase of capital equipment, and forecast future maintenance budgets</a:t>
              </a:r>
            </a:p>
            <a:p>
              <a:pPr marL="161746" indent="-161746">
                <a:buFont typeface="Arial" panose="020B0604020202020204" pitchFamily="34" charset="0"/>
                <a:buChar char="•"/>
                <a:defRPr/>
              </a:pPr>
              <a:r>
                <a:rPr lang="en-ZA" sz="755" dirty="0">
                  <a:latin typeface="Helvetica" pitchFamily="2" charset="0"/>
                </a:rPr>
                <a:t>Collect and report on metrics required by third party regulatory mandates more efficiently than paper based processes</a:t>
              </a:r>
            </a:p>
          </p:txBody>
        </p:sp>
        <p:sp>
          <p:nvSpPr>
            <p:cNvPr id="43028" name="Rectangle 15">
              <a:extLst>
                <a:ext uri="{FF2B5EF4-FFF2-40B4-BE49-F238E27FC236}">
                  <a16:creationId xmlns:a16="http://schemas.microsoft.com/office/drawing/2014/main" id="{75EBE382-982B-FB52-45ED-B9091509757E}"/>
                </a:ext>
              </a:extLst>
            </p:cNvPr>
            <p:cNvSpPr>
              <a:spLocks noChangeArrowheads="1"/>
            </p:cNvSpPr>
            <p:nvPr/>
          </p:nvSpPr>
          <p:spPr bwMode="auto">
            <a:xfrm>
              <a:off x="3652766" y="2520584"/>
              <a:ext cx="3619309" cy="20551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ZA" altLang="en-US" sz="1132" dirty="0">
                  <a:solidFill>
                    <a:schemeClr val="bg1"/>
                  </a:solidFill>
                  <a:latin typeface="Helvetica" pitchFamily="2" charset="0"/>
                </a:rPr>
                <a:t>Improve the Planning Process</a:t>
              </a:r>
            </a:p>
          </p:txBody>
        </p:sp>
      </p:grpSp>
      <p:grpSp>
        <p:nvGrpSpPr>
          <p:cNvPr id="43016" name="Group 24">
            <a:extLst>
              <a:ext uri="{FF2B5EF4-FFF2-40B4-BE49-F238E27FC236}">
                <a16:creationId xmlns:a16="http://schemas.microsoft.com/office/drawing/2014/main" id="{026AE1C4-0D06-A8E8-15B4-AC5455E0D3D6}"/>
              </a:ext>
            </a:extLst>
          </p:cNvPr>
          <p:cNvGrpSpPr>
            <a:grpSpLocks/>
          </p:cNvGrpSpPr>
          <p:nvPr/>
        </p:nvGrpSpPr>
        <p:grpSpPr bwMode="auto">
          <a:xfrm>
            <a:off x="3181978" y="2775494"/>
            <a:ext cx="2555188" cy="3357026"/>
            <a:chOff x="167378" y="4054786"/>
            <a:chExt cx="2840953" cy="1720090"/>
          </a:xfrm>
        </p:grpSpPr>
        <p:sp>
          <p:nvSpPr>
            <p:cNvPr id="19" name="Rectangle 18">
              <a:extLst>
                <a:ext uri="{FF2B5EF4-FFF2-40B4-BE49-F238E27FC236}">
                  <a16:creationId xmlns:a16="http://schemas.microsoft.com/office/drawing/2014/main" id="{D9FD2A18-1188-6896-06F8-D45BCD6A893B}"/>
                </a:ext>
              </a:extLst>
            </p:cNvPr>
            <p:cNvSpPr/>
            <p:nvPr/>
          </p:nvSpPr>
          <p:spPr>
            <a:xfrm>
              <a:off x="167378" y="4298803"/>
              <a:ext cx="2795930" cy="1476073"/>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755" dirty="0">
                  <a:latin typeface="Helvetica" pitchFamily="2" charset="0"/>
                </a:rPr>
                <a:t>Allow work requests to take advantage of SLAs that define work team obligations, service windows, and performance measurements</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Measure response and completion times to detect performance issues and provide timely information for continuous process improvement</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Provide intelligent SLA selection that assigns requests based on need type, level of authorization, expertise, and resources required to satisfy the request</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Create automated routing that forwards requests for required approvals and, based on the SLA, accelerates urgent requests to either internal or external work teams within seconds of submission</a:t>
              </a:r>
            </a:p>
          </p:txBody>
        </p:sp>
        <p:sp>
          <p:nvSpPr>
            <p:cNvPr id="43026" name="Rectangle 19">
              <a:extLst>
                <a:ext uri="{FF2B5EF4-FFF2-40B4-BE49-F238E27FC236}">
                  <a16:creationId xmlns:a16="http://schemas.microsoft.com/office/drawing/2014/main" id="{19F225DB-8B85-35F1-158D-30C65AFEA459}"/>
                </a:ext>
              </a:extLst>
            </p:cNvPr>
            <p:cNvSpPr>
              <a:spLocks noChangeArrowheads="1"/>
            </p:cNvSpPr>
            <p:nvPr/>
          </p:nvSpPr>
          <p:spPr bwMode="auto">
            <a:xfrm>
              <a:off x="167378" y="4054786"/>
              <a:ext cx="2840953" cy="22584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ZA" altLang="en-US" sz="1132" dirty="0">
                  <a:solidFill>
                    <a:schemeClr val="bg1"/>
                  </a:solidFill>
                  <a:latin typeface="Helvetica" pitchFamily="2" charset="0"/>
                </a:rPr>
                <a:t>Enforce Standards with SLAs</a:t>
              </a:r>
            </a:p>
          </p:txBody>
        </p:sp>
      </p:grpSp>
      <p:grpSp>
        <p:nvGrpSpPr>
          <p:cNvPr id="43017" name="Group 31">
            <a:extLst>
              <a:ext uri="{FF2B5EF4-FFF2-40B4-BE49-F238E27FC236}">
                <a16:creationId xmlns:a16="http://schemas.microsoft.com/office/drawing/2014/main" id="{B8AD4549-993D-A64A-5412-93DA43CFD1E4}"/>
              </a:ext>
            </a:extLst>
          </p:cNvPr>
          <p:cNvGrpSpPr>
            <a:grpSpLocks/>
          </p:cNvGrpSpPr>
          <p:nvPr/>
        </p:nvGrpSpPr>
        <p:grpSpPr bwMode="auto">
          <a:xfrm>
            <a:off x="9098402" y="1492133"/>
            <a:ext cx="1992113" cy="3375464"/>
            <a:chOff x="9121881" y="1122508"/>
            <a:chExt cx="2112176" cy="2113008"/>
          </a:xfrm>
        </p:grpSpPr>
        <p:sp>
          <p:nvSpPr>
            <p:cNvPr id="21" name="Rectangle 20">
              <a:extLst>
                <a:ext uri="{FF2B5EF4-FFF2-40B4-BE49-F238E27FC236}">
                  <a16:creationId xmlns:a16="http://schemas.microsoft.com/office/drawing/2014/main" id="{22582445-2E0B-4CE7-D018-4DD934316AB0}"/>
                </a:ext>
              </a:extLst>
            </p:cNvPr>
            <p:cNvSpPr/>
            <p:nvPr/>
          </p:nvSpPr>
          <p:spPr>
            <a:xfrm>
              <a:off x="9190475" y="1432170"/>
              <a:ext cx="2043582" cy="1803346"/>
            </a:xfrm>
            <a:prstGeom prst="rect">
              <a:avLst/>
            </a:prstGeom>
            <a:ln>
              <a:solidFill>
                <a:schemeClr val="accent1"/>
              </a:solidFill>
              <a:prstDash val="dash"/>
            </a:ln>
          </p:spPr>
          <p:txBody>
            <a:bodyPr>
              <a:spAutoFit/>
            </a:bodyPr>
            <a:lstStyle/>
            <a:p>
              <a:pPr marL="161746" indent="-161746">
                <a:buFont typeface="Arial" panose="020B0604020202020204" pitchFamily="34" charset="0"/>
                <a:buChar char="•"/>
                <a:defRPr/>
              </a:pPr>
              <a:r>
                <a:rPr lang="en-ZA" sz="755" dirty="0">
                  <a:latin typeface="Helvetica" pitchFamily="2" charset="0"/>
                </a:rPr>
                <a:t>Simplifies the request, dispatch, and feedback processes of maintenance tasks to improve service provision</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Reduces operating costs through automated workflows, mobile access and streamlined communication</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Provides a seamless link to Service Level Agreements (SLAs) to enforce standards and increase efficiency</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Enables improved forecasting of maintenance and capital budgets</a:t>
              </a:r>
            </a:p>
            <a:p>
              <a:pPr marL="161746" indent="-161746">
                <a:buFont typeface="Arial" panose="020B0604020202020204" pitchFamily="34" charset="0"/>
                <a:buChar char="•"/>
                <a:defRPr/>
              </a:pPr>
              <a:r>
                <a:rPr lang="en-ZA" sz="755" dirty="0">
                  <a:latin typeface="Helvetica" pitchFamily="2" charset="0"/>
                </a:rPr>
                <a:t>Helps achieve business results with ARCHIBUS Quick-Start, a productivity aid which includes tutorial videos and “How To” instructions</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Increases productivity with ARCHIBUS All-in-One Home Page with quick access to 80% of most common tasks</a:t>
              </a:r>
            </a:p>
          </p:txBody>
        </p:sp>
        <p:sp>
          <p:nvSpPr>
            <p:cNvPr id="31" name="Rectangle 30">
              <a:extLst>
                <a:ext uri="{FF2B5EF4-FFF2-40B4-BE49-F238E27FC236}">
                  <a16:creationId xmlns:a16="http://schemas.microsoft.com/office/drawing/2014/main" id="{A2E22AE0-FB52-E5B0-6F14-D81F444B65CC}"/>
                </a:ext>
              </a:extLst>
            </p:cNvPr>
            <p:cNvSpPr/>
            <p:nvPr/>
          </p:nvSpPr>
          <p:spPr>
            <a:xfrm>
              <a:off x="9121881" y="1122508"/>
              <a:ext cx="2043582" cy="275913"/>
            </a:xfrm>
            <a:prstGeom prst="rect">
              <a:avLst/>
            </a:prstGeom>
            <a:solidFill>
              <a:schemeClr val="accent3">
                <a:lumMod val="20000"/>
                <a:lumOff val="80000"/>
              </a:schemeClr>
            </a:solidFill>
          </p:spPr>
          <p:txBody>
            <a:bodyPr>
              <a:spAutoFit/>
            </a:bodyPr>
            <a:lstStyle/>
            <a:p>
              <a:pPr algn="ctr">
                <a:defRPr/>
              </a:pPr>
              <a:r>
                <a:rPr lang="en-ZA" sz="2264" dirty="0">
                  <a:latin typeface="Helvetica" pitchFamily="2" charset="0"/>
                </a:rPr>
                <a:t>Benefits</a:t>
              </a:r>
            </a:p>
          </p:txBody>
        </p:sp>
      </p:grpSp>
      <p:sp>
        <p:nvSpPr>
          <p:cNvPr id="33" name="Rectangle 32">
            <a:extLst>
              <a:ext uri="{FF2B5EF4-FFF2-40B4-BE49-F238E27FC236}">
                <a16:creationId xmlns:a16="http://schemas.microsoft.com/office/drawing/2014/main" id="{9AB1B00F-A7B1-3DA1-981B-75FDCAA494C2}"/>
              </a:ext>
            </a:extLst>
          </p:cNvPr>
          <p:cNvSpPr/>
          <p:nvPr/>
        </p:nvSpPr>
        <p:spPr>
          <a:xfrm>
            <a:off x="1347096" y="361906"/>
            <a:ext cx="5913798" cy="614912"/>
          </a:xfrm>
          <a:prstGeom prst="rect">
            <a:avLst/>
          </a:prstGeom>
        </p:spPr>
        <p:txBody>
          <a:bodyPr wrap="none">
            <a:spAutoFit/>
          </a:bodyPr>
          <a:lstStyle/>
          <a:p>
            <a:pPr>
              <a:defRPr/>
            </a:pPr>
            <a:r>
              <a:rPr lang="en-US" sz="3396" dirty="0">
                <a:solidFill>
                  <a:schemeClr val="bg1"/>
                </a:solidFill>
              </a:rPr>
              <a:t>Unscheduled</a:t>
            </a:r>
            <a:r>
              <a:rPr lang="en-US" sz="1887" b="1" dirty="0">
                <a:solidFill>
                  <a:schemeClr val="accent6">
                    <a:lumMod val="75000"/>
                  </a:schemeClr>
                </a:solidFill>
              </a:rPr>
              <a:t> </a:t>
            </a:r>
            <a:r>
              <a:rPr lang="en-US" sz="3396" dirty="0">
                <a:solidFill>
                  <a:schemeClr val="bg1"/>
                </a:solidFill>
              </a:rPr>
              <a:t>Maintenance</a:t>
            </a:r>
          </a:p>
        </p:txBody>
      </p:sp>
      <p:cxnSp>
        <p:nvCxnSpPr>
          <p:cNvPr id="36" name="Straight Connector 35">
            <a:extLst>
              <a:ext uri="{FF2B5EF4-FFF2-40B4-BE49-F238E27FC236}">
                <a16:creationId xmlns:a16="http://schemas.microsoft.com/office/drawing/2014/main" id="{BC30EF91-F118-B726-57C8-D3F2C04A25B3}"/>
              </a:ext>
            </a:extLst>
          </p:cNvPr>
          <p:cNvCxnSpPr>
            <a:cxnSpLocks/>
          </p:cNvCxnSpPr>
          <p:nvPr/>
        </p:nvCxnSpPr>
        <p:spPr>
          <a:xfrm>
            <a:off x="3192145" y="1356316"/>
            <a:ext cx="0" cy="5234129"/>
          </a:xfrm>
          <a:prstGeom prst="line">
            <a:avLst/>
          </a:prstGeom>
          <a:ln>
            <a:solidFill>
              <a:schemeClr val="tx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4A1A391-4D80-01FA-B027-2E8A0AC5C6C9}"/>
              </a:ext>
            </a:extLst>
          </p:cNvPr>
          <p:cNvCxnSpPr>
            <a:cxnSpLocks/>
          </p:cNvCxnSpPr>
          <p:nvPr/>
        </p:nvCxnSpPr>
        <p:spPr>
          <a:xfrm>
            <a:off x="5787493" y="1356316"/>
            <a:ext cx="0" cy="5234129"/>
          </a:xfrm>
          <a:prstGeom prst="line">
            <a:avLst/>
          </a:prstGeom>
          <a:ln>
            <a:solidFill>
              <a:schemeClr val="tx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A7BAD43-2480-7D89-74A3-647B3D39E496}"/>
              </a:ext>
            </a:extLst>
          </p:cNvPr>
          <p:cNvCxnSpPr>
            <a:cxnSpLocks/>
          </p:cNvCxnSpPr>
          <p:nvPr/>
        </p:nvCxnSpPr>
        <p:spPr>
          <a:xfrm>
            <a:off x="8540091" y="1356316"/>
            <a:ext cx="0" cy="5234129"/>
          </a:xfrm>
          <a:prstGeom prst="line">
            <a:avLst/>
          </a:prstGeom>
          <a:ln>
            <a:solidFill>
              <a:schemeClr val="tx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3834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a:extLst>
              <a:ext uri="{FF2B5EF4-FFF2-40B4-BE49-F238E27FC236}">
                <a16:creationId xmlns:a16="http://schemas.microsoft.com/office/drawing/2014/main" id="{E43E4D3A-A551-9983-1596-85E4A0775DED}"/>
              </a:ext>
            </a:extLst>
          </p:cNvPr>
          <p:cNvCxnSpPr>
            <a:cxnSpLocks/>
          </p:cNvCxnSpPr>
          <p:nvPr/>
        </p:nvCxnSpPr>
        <p:spPr>
          <a:xfrm flipV="1">
            <a:off x="839407" y="890562"/>
            <a:ext cx="0" cy="55381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9168C04-F547-3A9C-D317-8F637D3BEE4E}"/>
              </a:ext>
            </a:extLst>
          </p:cNvPr>
          <p:cNvCxnSpPr>
            <a:cxnSpLocks/>
          </p:cNvCxnSpPr>
          <p:nvPr/>
        </p:nvCxnSpPr>
        <p:spPr>
          <a:xfrm>
            <a:off x="839408" y="6428703"/>
            <a:ext cx="81709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D706A57-4809-D474-007A-CC4EC66581B9}"/>
              </a:ext>
            </a:extLst>
          </p:cNvPr>
          <p:cNvSpPr/>
          <p:nvPr/>
        </p:nvSpPr>
        <p:spPr>
          <a:xfrm>
            <a:off x="1267722" y="309490"/>
            <a:ext cx="5531283" cy="461665"/>
          </a:xfrm>
          <a:prstGeom prst="rect">
            <a:avLst/>
          </a:prstGeom>
        </p:spPr>
        <p:txBody>
          <a:bodyPr wrap="square">
            <a:spAutoFit/>
          </a:bodyPr>
          <a:lstStyle/>
          <a:p>
            <a:pPr>
              <a:defRPr/>
            </a:pPr>
            <a:r>
              <a:rPr lang="en-ZA" sz="2400" b="1" dirty="0"/>
              <a:t>Lease Administration</a:t>
            </a:r>
          </a:p>
        </p:txBody>
      </p:sp>
      <p:sp>
        <p:nvSpPr>
          <p:cNvPr id="3" name="Rectangle 2">
            <a:extLst>
              <a:ext uri="{FF2B5EF4-FFF2-40B4-BE49-F238E27FC236}">
                <a16:creationId xmlns:a16="http://schemas.microsoft.com/office/drawing/2014/main" id="{377ECB2D-163B-EC03-B720-FBF61E6736ED}"/>
              </a:ext>
            </a:extLst>
          </p:cNvPr>
          <p:cNvSpPr/>
          <p:nvPr/>
        </p:nvSpPr>
        <p:spPr>
          <a:xfrm>
            <a:off x="9408702" y="2750997"/>
            <a:ext cx="2008288" cy="2967351"/>
          </a:xfrm>
          <a:prstGeom prst="rect">
            <a:avLst/>
          </a:prstGeom>
          <a:ln>
            <a:solidFill>
              <a:schemeClr val="accent1"/>
            </a:solidFill>
            <a:prstDash val="dash"/>
          </a:ln>
        </p:spPr>
        <p:txBody>
          <a:bodyPr>
            <a:spAutoFit/>
          </a:bodyPr>
          <a:lstStyle/>
          <a:p>
            <a:pPr marL="161746" indent="-161746">
              <a:buFont typeface="Arial" panose="020B0604020202020204" pitchFamily="34" charset="0"/>
              <a:buChar char="•"/>
              <a:defRPr/>
            </a:pPr>
            <a:r>
              <a:rPr lang="en-ZA" sz="1038" dirty="0">
                <a:latin typeface="Helvetica" pitchFamily="2" charset="0"/>
              </a:rPr>
              <a:t>Automate processes for lease tracking and management</a:t>
            </a:r>
          </a:p>
          <a:p>
            <a:pPr>
              <a:defRPr/>
            </a:pPr>
            <a:endParaRPr lang="en-ZA" sz="1038" dirty="0">
              <a:latin typeface="Helvetica" pitchFamily="2" charset="0"/>
            </a:endParaRPr>
          </a:p>
          <a:p>
            <a:pPr marL="161746" indent="-161746">
              <a:buFont typeface="Arial" panose="020B0604020202020204" pitchFamily="34" charset="0"/>
              <a:buChar char="•"/>
              <a:defRPr/>
            </a:pPr>
            <a:r>
              <a:rPr lang="en-ZA" sz="1038" dirty="0">
                <a:latin typeface="Helvetica" pitchFamily="2" charset="0"/>
              </a:rPr>
              <a:t>Improve access of lease information to facilitate easy analysis and reporting</a:t>
            </a:r>
          </a:p>
          <a:p>
            <a:pPr>
              <a:defRPr/>
            </a:pPr>
            <a:endParaRPr lang="en-ZA" sz="1038" dirty="0">
              <a:latin typeface="Helvetica" pitchFamily="2" charset="0"/>
            </a:endParaRPr>
          </a:p>
          <a:p>
            <a:pPr marL="161746" indent="-161746">
              <a:buFont typeface="Arial" panose="020B0604020202020204" pitchFamily="34" charset="0"/>
              <a:buChar char="•"/>
              <a:defRPr/>
            </a:pPr>
            <a:r>
              <a:rPr lang="en-ZA" sz="1038" dirty="0">
                <a:latin typeface="Helvetica" pitchFamily="2" charset="0"/>
              </a:rPr>
              <a:t>Streamline tracking of landlord and tenant responsibilities to avoid unnecessary charges</a:t>
            </a:r>
          </a:p>
          <a:p>
            <a:pPr>
              <a:defRPr/>
            </a:pPr>
            <a:endParaRPr lang="en-ZA" sz="1038" dirty="0">
              <a:latin typeface="Helvetica" pitchFamily="2" charset="0"/>
            </a:endParaRPr>
          </a:p>
          <a:p>
            <a:pPr marL="161746" indent="-161746">
              <a:buFont typeface="Arial" panose="020B0604020202020204" pitchFamily="34" charset="0"/>
              <a:buChar char="•"/>
              <a:defRPr/>
            </a:pPr>
            <a:r>
              <a:rPr lang="en-ZA" sz="1038" dirty="0">
                <a:latin typeface="Helvetica" pitchFamily="2" charset="0"/>
              </a:rPr>
              <a:t>Minimize errors and speeds data entry through intuitive prompts, reducing administrative costs</a:t>
            </a:r>
          </a:p>
          <a:p>
            <a:pPr>
              <a:defRPr/>
            </a:pPr>
            <a:endParaRPr lang="en-ZA" sz="1038" dirty="0">
              <a:latin typeface="Helvetica" pitchFamily="2" charset="0"/>
            </a:endParaRPr>
          </a:p>
        </p:txBody>
      </p:sp>
      <p:sp>
        <p:nvSpPr>
          <p:cNvPr id="13" name="Rectangle 12">
            <a:extLst>
              <a:ext uri="{FF2B5EF4-FFF2-40B4-BE49-F238E27FC236}">
                <a16:creationId xmlns:a16="http://schemas.microsoft.com/office/drawing/2014/main" id="{B22592BC-C3C0-5729-ADD6-75D9EDA6AF6E}"/>
              </a:ext>
            </a:extLst>
          </p:cNvPr>
          <p:cNvSpPr/>
          <p:nvPr/>
        </p:nvSpPr>
        <p:spPr>
          <a:xfrm>
            <a:off x="9621213" y="2089415"/>
            <a:ext cx="2008288" cy="440762"/>
          </a:xfrm>
          <a:prstGeom prst="rect">
            <a:avLst/>
          </a:prstGeom>
          <a:solidFill>
            <a:schemeClr val="accent3">
              <a:lumMod val="20000"/>
              <a:lumOff val="80000"/>
            </a:schemeClr>
          </a:solidFill>
        </p:spPr>
        <p:txBody>
          <a:bodyPr>
            <a:spAutoFit/>
          </a:bodyPr>
          <a:lstStyle/>
          <a:p>
            <a:pPr algn="ctr">
              <a:defRPr/>
            </a:pPr>
            <a:r>
              <a:rPr lang="en-ZA" sz="2264" dirty="0">
                <a:latin typeface="Helvetica" pitchFamily="2" charset="0"/>
              </a:rPr>
              <a:t>Benefits</a:t>
            </a:r>
          </a:p>
        </p:txBody>
      </p:sp>
      <p:sp>
        <p:nvSpPr>
          <p:cNvPr id="7" name="Rectangle 6">
            <a:extLst>
              <a:ext uri="{FF2B5EF4-FFF2-40B4-BE49-F238E27FC236}">
                <a16:creationId xmlns:a16="http://schemas.microsoft.com/office/drawing/2014/main" id="{5F6E8EDD-A8A9-BD33-70D1-C70293B0DD86}"/>
              </a:ext>
            </a:extLst>
          </p:cNvPr>
          <p:cNvSpPr/>
          <p:nvPr/>
        </p:nvSpPr>
        <p:spPr>
          <a:xfrm>
            <a:off x="869359" y="1481840"/>
            <a:ext cx="8509390" cy="523220"/>
          </a:xfrm>
          <a:prstGeom prst="rect">
            <a:avLst/>
          </a:prstGeom>
        </p:spPr>
        <p:txBody>
          <a:bodyPr>
            <a:spAutoFit/>
          </a:bodyPr>
          <a:lstStyle/>
          <a:p>
            <a:pPr>
              <a:defRPr/>
            </a:pPr>
            <a:r>
              <a:rPr lang="en-ZA" sz="1400" b="1" i="1" dirty="0">
                <a:solidFill>
                  <a:schemeClr val="accent6">
                    <a:lumMod val="50000"/>
                  </a:schemeClr>
                </a:solidFill>
              </a:rPr>
              <a:t>Centralize and automate lease administration processes to increase efficiency, reduce errors, and avoid penalties</a:t>
            </a:r>
          </a:p>
        </p:txBody>
      </p:sp>
      <p:grpSp>
        <p:nvGrpSpPr>
          <p:cNvPr id="44040" name="Group 11">
            <a:extLst>
              <a:ext uri="{FF2B5EF4-FFF2-40B4-BE49-F238E27FC236}">
                <a16:creationId xmlns:a16="http://schemas.microsoft.com/office/drawing/2014/main" id="{24EA1F0B-B325-B6FF-395E-07F03A710F73}"/>
              </a:ext>
            </a:extLst>
          </p:cNvPr>
          <p:cNvGrpSpPr>
            <a:grpSpLocks/>
          </p:cNvGrpSpPr>
          <p:nvPr/>
        </p:nvGrpSpPr>
        <p:grpSpPr bwMode="auto">
          <a:xfrm>
            <a:off x="845397" y="2750997"/>
            <a:ext cx="1863020" cy="3485393"/>
            <a:chOff x="750388" y="1461224"/>
            <a:chExt cx="2516387" cy="2817199"/>
          </a:xfrm>
        </p:grpSpPr>
        <p:sp>
          <p:nvSpPr>
            <p:cNvPr id="4" name="Rectangle 3">
              <a:extLst>
                <a:ext uri="{FF2B5EF4-FFF2-40B4-BE49-F238E27FC236}">
                  <a16:creationId xmlns:a16="http://schemas.microsoft.com/office/drawing/2014/main" id="{C36BE08B-B7DA-E59B-47DA-92B87EEE5279}"/>
                </a:ext>
              </a:extLst>
            </p:cNvPr>
            <p:cNvSpPr/>
            <p:nvPr/>
          </p:nvSpPr>
          <p:spPr>
            <a:xfrm>
              <a:off x="750388" y="1461224"/>
              <a:ext cx="2516387" cy="309203"/>
            </a:xfrm>
            <a:prstGeom prst="rect">
              <a:avLst/>
            </a:prstGeom>
            <a:solidFill>
              <a:schemeClr val="accent5"/>
            </a:solidFill>
          </p:spPr>
          <p:txBody>
            <a:bodyPr>
              <a:spAutoFit/>
            </a:bodyPr>
            <a:lstStyle/>
            <a:p>
              <a:pPr>
                <a:defRPr/>
              </a:pPr>
              <a:r>
                <a:rPr lang="en-ZA" sz="943" dirty="0">
                  <a:solidFill>
                    <a:schemeClr val="bg1"/>
                  </a:solidFill>
                  <a:latin typeface="Helvetica" pitchFamily="2" charset="0"/>
                </a:rPr>
                <a:t>Automated Lease Tracking and Management</a:t>
              </a:r>
            </a:p>
          </p:txBody>
        </p:sp>
        <p:sp>
          <p:nvSpPr>
            <p:cNvPr id="6" name="Rectangle 5">
              <a:extLst>
                <a:ext uri="{FF2B5EF4-FFF2-40B4-BE49-F238E27FC236}">
                  <a16:creationId xmlns:a16="http://schemas.microsoft.com/office/drawing/2014/main" id="{BB4A6083-D35E-5D52-BA4C-1FDCD3D3CCBC}"/>
                </a:ext>
              </a:extLst>
            </p:cNvPr>
            <p:cNvSpPr/>
            <p:nvPr/>
          </p:nvSpPr>
          <p:spPr>
            <a:xfrm>
              <a:off x="750388" y="1880055"/>
              <a:ext cx="2516387" cy="2398368"/>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849" dirty="0">
                  <a:latin typeface="Helvetica" pitchFamily="2" charset="0"/>
                </a:rPr>
                <a:t>Monitor leases, options coming due, alerts and more from a single screen with the Lease Portfolio Console</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Improve overall real estate service levels with a comprehensive repository of lease information</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Automate tracking of leases, options due dates, and other events with lease alert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Assign three levels of urgency to alerts, personalized for Building, Structure, and Land portfolio type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Issue alerts as emails or as flagged entries in the Lease Administration dashboard</a:t>
              </a:r>
            </a:p>
          </p:txBody>
        </p:sp>
      </p:grpSp>
      <p:grpSp>
        <p:nvGrpSpPr>
          <p:cNvPr id="44041" name="Group 10">
            <a:extLst>
              <a:ext uri="{FF2B5EF4-FFF2-40B4-BE49-F238E27FC236}">
                <a16:creationId xmlns:a16="http://schemas.microsoft.com/office/drawing/2014/main" id="{B66088F6-3C28-BAF3-18A1-70D5EB9C25DD}"/>
              </a:ext>
            </a:extLst>
          </p:cNvPr>
          <p:cNvGrpSpPr>
            <a:grpSpLocks/>
          </p:cNvGrpSpPr>
          <p:nvPr/>
        </p:nvGrpSpPr>
        <p:grpSpPr bwMode="auto">
          <a:xfrm>
            <a:off x="3169679" y="2725070"/>
            <a:ext cx="1954375" cy="3659887"/>
            <a:chOff x="3493997" y="1923691"/>
            <a:chExt cx="2660972" cy="2819310"/>
          </a:xfrm>
        </p:grpSpPr>
        <p:sp>
          <p:nvSpPr>
            <p:cNvPr id="8" name="Rectangle 7">
              <a:extLst>
                <a:ext uri="{FF2B5EF4-FFF2-40B4-BE49-F238E27FC236}">
                  <a16:creationId xmlns:a16="http://schemas.microsoft.com/office/drawing/2014/main" id="{62E863CC-BDD8-9331-9C24-C2570AFFDDC6}"/>
                </a:ext>
              </a:extLst>
            </p:cNvPr>
            <p:cNvSpPr/>
            <p:nvPr/>
          </p:nvSpPr>
          <p:spPr>
            <a:xfrm>
              <a:off x="3493997" y="2255941"/>
              <a:ext cx="2660972" cy="2487060"/>
            </a:xfrm>
            <a:prstGeom prst="rect">
              <a:avLst/>
            </a:prstGeom>
          </p:spPr>
          <p:txBody>
            <a:bodyPr>
              <a:spAutoFit/>
            </a:bodyPr>
            <a:lstStyle/>
            <a:p>
              <a:pPr marL="161746" indent="-161746">
                <a:buFont typeface="Arial" panose="020B0604020202020204" pitchFamily="34" charset="0"/>
                <a:buChar char="•"/>
                <a:defRPr/>
              </a:pPr>
              <a:r>
                <a:rPr lang="en-ZA" sz="849" dirty="0">
                  <a:latin typeface="Helvetica" pitchFamily="2" charset="0"/>
                </a:rPr>
                <a:t>Provide the framework for improved lease analytics to avoid costly errors or missed opportunitie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Simplify the selection and presentation of desired leases with associated costs, options, amendment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Locate or edit leases directly from an easy to   navigate dashboard</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Research costs by month, lease, or specific cost component using drill-down capabilitie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Summarize monthly recurring costs across the lease portfolio for an entire year according to user preferences, such as geography, cost category, or year</a:t>
              </a:r>
            </a:p>
          </p:txBody>
        </p:sp>
        <p:sp>
          <p:nvSpPr>
            <p:cNvPr id="9" name="Rectangle 8">
              <a:extLst>
                <a:ext uri="{FF2B5EF4-FFF2-40B4-BE49-F238E27FC236}">
                  <a16:creationId xmlns:a16="http://schemas.microsoft.com/office/drawing/2014/main" id="{993DA4C8-3E09-75A3-0263-CA953CF5A86F}"/>
                </a:ext>
              </a:extLst>
            </p:cNvPr>
            <p:cNvSpPr/>
            <p:nvPr/>
          </p:nvSpPr>
          <p:spPr>
            <a:xfrm>
              <a:off x="3502153" y="1923691"/>
              <a:ext cx="2652816" cy="294682"/>
            </a:xfrm>
            <a:prstGeom prst="rect">
              <a:avLst/>
            </a:prstGeom>
            <a:solidFill>
              <a:schemeClr val="accent5"/>
            </a:solidFill>
          </p:spPr>
          <p:txBody>
            <a:bodyPr>
              <a:spAutoFit/>
            </a:bodyPr>
            <a:lstStyle/>
            <a:p>
              <a:pPr>
                <a:defRPr/>
              </a:pPr>
              <a:r>
                <a:rPr lang="en-ZA" sz="943" dirty="0">
                  <a:solidFill>
                    <a:schemeClr val="bg1"/>
                  </a:solidFill>
                  <a:latin typeface="Helvetica" pitchFamily="2" charset="0"/>
                </a:rPr>
                <a:t>Improved Data Access for Better Decisions</a:t>
              </a:r>
            </a:p>
          </p:txBody>
        </p:sp>
      </p:grpSp>
      <p:grpSp>
        <p:nvGrpSpPr>
          <p:cNvPr id="44042" name="Group 17">
            <a:extLst>
              <a:ext uri="{FF2B5EF4-FFF2-40B4-BE49-F238E27FC236}">
                <a16:creationId xmlns:a16="http://schemas.microsoft.com/office/drawing/2014/main" id="{99E6A603-BD61-BC9E-FB5A-8334AB877563}"/>
              </a:ext>
            </a:extLst>
          </p:cNvPr>
          <p:cNvGrpSpPr>
            <a:grpSpLocks/>
          </p:cNvGrpSpPr>
          <p:nvPr/>
        </p:nvGrpSpPr>
        <p:grpSpPr bwMode="auto">
          <a:xfrm>
            <a:off x="5915541" y="3777604"/>
            <a:ext cx="2304813" cy="2448238"/>
            <a:chOff x="5493896" y="3550112"/>
            <a:chExt cx="2443034" cy="2291405"/>
          </a:xfrm>
        </p:grpSpPr>
        <p:sp>
          <p:nvSpPr>
            <p:cNvPr id="15" name="Rectangle 14">
              <a:extLst>
                <a:ext uri="{FF2B5EF4-FFF2-40B4-BE49-F238E27FC236}">
                  <a16:creationId xmlns:a16="http://schemas.microsoft.com/office/drawing/2014/main" id="{DC4A31B0-71DB-8CA3-DAAB-F40100432521}"/>
                </a:ext>
              </a:extLst>
            </p:cNvPr>
            <p:cNvSpPr/>
            <p:nvPr/>
          </p:nvSpPr>
          <p:spPr>
            <a:xfrm>
              <a:off x="5493896" y="3798208"/>
              <a:ext cx="2417635" cy="2043309"/>
            </a:xfrm>
            <a:prstGeom prst="rect">
              <a:avLst/>
            </a:prstGeom>
          </p:spPr>
          <p:txBody>
            <a:bodyPr>
              <a:spAutoFit/>
            </a:bodyPr>
            <a:lstStyle/>
            <a:p>
              <a:pPr marL="161746" indent="-161746">
                <a:buFont typeface="Arial" panose="020B0604020202020204" pitchFamily="34" charset="0"/>
                <a:buChar char="•"/>
                <a:defRPr/>
              </a:pPr>
              <a:r>
                <a:rPr lang="en-ZA" sz="849" dirty="0">
                  <a:latin typeface="Helvetica" pitchFamily="2" charset="0"/>
                </a:rPr>
                <a:t>Reduce manual effort needed to perform data entry and maintenance tasks with Add/Edit Wizard</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Define a new lease portfolio item or edit an existing one with ease using the intuitive Wizard feature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Use the Wizard’s dynamic tabs to efficiently guide users through the steps necessary to add, modify, and/or delete lease information</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Reduce processing time and administrative overhead with faster data entry and greater accuracy</a:t>
              </a:r>
            </a:p>
          </p:txBody>
        </p:sp>
        <p:sp>
          <p:nvSpPr>
            <p:cNvPr id="16" name="Rectangle 15">
              <a:extLst>
                <a:ext uri="{FF2B5EF4-FFF2-40B4-BE49-F238E27FC236}">
                  <a16:creationId xmlns:a16="http://schemas.microsoft.com/office/drawing/2014/main" id="{130F5A2B-D971-D167-77E3-B4A195170CFD}"/>
                </a:ext>
              </a:extLst>
            </p:cNvPr>
            <p:cNvSpPr/>
            <p:nvPr/>
          </p:nvSpPr>
          <p:spPr>
            <a:xfrm>
              <a:off x="5519295" y="3550112"/>
              <a:ext cx="2417635" cy="222227"/>
            </a:xfrm>
            <a:prstGeom prst="rect">
              <a:avLst/>
            </a:prstGeom>
            <a:solidFill>
              <a:schemeClr val="accent5"/>
            </a:solidFill>
          </p:spPr>
          <p:txBody>
            <a:bodyPr>
              <a:spAutoFit/>
            </a:bodyPr>
            <a:lstStyle/>
            <a:p>
              <a:pPr>
                <a:defRPr/>
              </a:pPr>
              <a:r>
                <a:rPr lang="en-ZA" sz="943" dirty="0">
                  <a:solidFill>
                    <a:schemeClr val="bg1"/>
                  </a:solidFill>
                  <a:latin typeface="Helvetica" pitchFamily="2" charset="0"/>
                </a:rPr>
                <a:t> Reduce Data Entry Burden</a:t>
              </a:r>
            </a:p>
          </p:txBody>
        </p:sp>
      </p:grpSp>
      <p:grpSp>
        <p:nvGrpSpPr>
          <p:cNvPr id="44043" name="Group 18">
            <a:extLst>
              <a:ext uri="{FF2B5EF4-FFF2-40B4-BE49-F238E27FC236}">
                <a16:creationId xmlns:a16="http://schemas.microsoft.com/office/drawing/2014/main" id="{96F801B7-A617-0237-5E50-4FF66D28AFC9}"/>
              </a:ext>
            </a:extLst>
          </p:cNvPr>
          <p:cNvGrpSpPr>
            <a:grpSpLocks/>
          </p:cNvGrpSpPr>
          <p:nvPr/>
        </p:nvGrpSpPr>
        <p:grpSpPr bwMode="auto">
          <a:xfrm>
            <a:off x="5915541" y="1927255"/>
            <a:ext cx="2506836" cy="1828476"/>
            <a:chOff x="5501757" y="1289595"/>
            <a:chExt cx="2657739" cy="1937863"/>
          </a:xfrm>
        </p:grpSpPr>
        <p:sp>
          <p:nvSpPr>
            <p:cNvPr id="14" name="Rectangle 13">
              <a:extLst>
                <a:ext uri="{FF2B5EF4-FFF2-40B4-BE49-F238E27FC236}">
                  <a16:creationId xmlns:a16="http://schemas.microsoft.com/office/drawing/2014/main" id="{64C51C8F-D3E2-3B2C-B109-B984488A78BE}"/>
                </a:ext>
              </a:extLst>
            </p:cNvPr>
            <p:cNvSpPr/>
            <p:nvPr/>
          </p:nvSpPr>
          <p:spPr>
            <a:xfrm>
              <a:off x="5522235" y="1744658"/>
              <a:ext cx="2637261" cy="1482800"/>
            </a:xfrm>
            <a:prstGeom prst="rect">
              <a:avLst/>
            </a:prstGeom>
          </p:spPr>
          <p:txBody>
            <a:bodyPr>
              <a:spAutoFit/>
            </a:bodyPr>
            <a:lstStyle/>
            <a:p>
              <a:pPr marL="161746" indent="-161746">
                <a:buFont typeface="Arial" panose="020B0604020202020204" pitchFamily="34" charset="0"/>
                <a:buChar char="•"/>
                <a:defRPr/>
              </a:pPr>
              <a:r>
                <a:rPr lang="en-ZA" sz="849" dirty="0">
                  <a:latin typeface="Helvetica" pitchFamily="2" charset="0"/>
                </a:rPr>
                <a:t>Eliminates time wasted locating and reviewing leases and specific responsibility clause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Confirms landlord versus tenant responsibilities thereby avoiding service delivery and payment confusion</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Provides immediate online access to lease details to easily validate invoices</a:t>
              </a:r>
            </a:p>
          </p:txBody>
        </p:sp>
        <p:sp>
          <p:nvSpPr>
            <p:cNvPr id="17" name="Rectangle 16">
              <a:extLst>
                <a:ext uri="{FF2B5EF4-FFF2-40B4-BE49-F238E27FC236}">
                  <a16:creationId xmlns:a16="http://schemas.microsoft.com/office/drawing/2014/main" id="{04016C5F-C660-227F-CFC3-1DD12AD653A3}"/>
                </a:ext>
              </a:extLst>
            </p:cNvPr>
            <p:cNvSpPr/>
            <p:nvPr/>
          </p:nvSpPr>
          <p:spPr>
            <a:xfrm>
              <a:off x="5501757" y="1289595"/>
              <a:ext cx="2637261" cy="405426"/>
            </a:xfrm>
            <a:prstGeom prst="rect">
              <a:avLst/>
            </a:prstGeom>
            <a:solidFill>
              <a:schemeClr val="accent5"/>
            </a:solidFill>
          </p:spPr>
          <p:txBody>
            <a:bodyPr>
              <a:spAutoFit/>
            </a:bodyPr>
            <a:lstStyle/>
            <a:p>
              <a:pPr>
                <a:defRPr/>
              </a:pPr>
              <a:r>
                <a:rPr lang="en-ZA" sz="943" dirty="0">
                  <a:solidFill>
                    <a:schemeClr val="bg1"/>
                  </a:solidFill>
                  <a:latin typeface="Helvetica" pitchFamily="2" charset="0"/>
                </a:rPr>
                <a:t> Accurate Charges and More Accountability</a:t>
              </a:r>
            </a:p>
          </p:txBody>
        </p:sp>
      </p:grpSp>
    </p:spTree>
    <p:extLst>
      <p:ext uri="{BB962C8B-B14F-4D97-AF65-F5344CB8AC3E}">
        <p14:creationId xmlns:p14="http://schemas.microsoft.com/office/powerpoint/2010/main" val="190793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a:extLst>
              <a:ext uri="{FF2B5EF4-FFF2-40B4-BE49-F238E27FC236}">
                <a16:creationId xmlns:a16="http://schemas.microsoft.com/office/drawing/2014/main" id="{44784189-63C3-42D5-4973-5723C991EF37}"/>
              </a:ext>
            </a:extLst>
          </p:cNvPr>
          <p:cNvCxnSpPr>
            <a:cxnSpLocks/>
          </p:cNvCxnSpPr>
          <p:nvPr/>
        </p:nvCxnSpPr>
        <p:spPr>
          <a:xfrm flipV="1">
            <a:off x="764527" y="746792"/>
            <a:ext cx="0" cy="57882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09266F6-7CB5-9FA0-C029-D542A1DEE713}"/>
              </a:ext>
            </a:extLst>
          </p:cNvPr>
          <p:cNvCxnSpPr>
            <a:cxnSpLocks/>
          </p:cNvCxnSpPr>
          <p:nvPr/>
        </p:nvCxnSpPr>
        <p:spPr>
          <a:xfrm>
            <a:off x="764529" y="6535032"/>
            <a:ext cx="7898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8C8D9634-0927-595F-9BFC-9458FF27E401}"/>
              </a:ext>
            </a:extLst>
          </p:cNvPr>
          <p:cNvSpPr/>
          <p:nvPr/>
        </p:nvSpPr>
        <p:spPr>
          <a:xfrm>
            <a:off x="1312651" y="430796"/>
            <a:ext cx="4911161" cy="614912"/>
          </a:xfrm>
          <a:prstGeom prst="rect">
            <a:avLst/>
          </a:prstGeom>
        </p:spPr>
        <p:txBody>
          <a:bodyPr wrap="square">
            <a:spAutoFit/>
          </a:bodyPr>
          <a:lstStyle/>
          <a:p>
            <a:pPr>
              <a:defRPr/>
            </a:pPr>
            <a:r>
              <a:rPr lang="en-ZA" sz="3396" dirty="0">
                <a:solidFill>
                  <a:schemeClr val="bg1"/>
                </a:solidFill>
              </a:rPr>
              <a:t>Condition</a:t>
            </a:r>
            <a:r>
              <a:rPr lang="en-ZA" sz="2400" b="1" dirty="0"/>
              <a:t> </a:t>
            </a:r>
            <a:r>
              <a:rPr lang="en-ZA" sz="3396" dirty="0">
                <a:solidFill>
                  <a:schemeClr val="bg1"/>
                </a:solidFill>
              </a:rPr>
              <a:t>Assessment</a:t>
            </a:r>
          </a:p>
        </p:txBody>
      </p:sp>
      <p:grpSp>
        <p:nvGrpSpPr>
          <p:cNvPr id="45061" name="Group 24">
            <a:extLst>
              <a:ext uri="{FF2B5EF4-FFF2-40B4-BE49-F238E27FC236}">
                <a16:creationId xmlns:a16="http://schemas.microsoft.com/office/drawing/2014/main" id="{F902E47B-C1D3-47FE-2E3F-991D33C06DB3}"/>
              </a:ext>
            </a:extLst>
          </p:cNvPr>
          <p:cNvGrpSpPr>
            <a:grpSpLocks/>
          </p:cNvGrpSpPr>
          <p:nvPr/>
        </p:nvGrpSpPr>
        <p:grpSpPr bwMode="auto">
          <a:xfrm>
            <a:off x="3329176" y="2043583"/>
            <a:ext cx="2144570" cy="2429881"/>
            <a:chOff x="675606" y="3225760"/>
            <a:chExt cx="2673908" cy="2575510"/>
          </a:xfrm>
        </p:grpSpPr>
        <p:sp>
          <p:nvSpPr>
            <p:cNvPr id="4" name="Rectangle 3">
              <a:extLst>
                <a:ext uri="{FF2B5EF4-FFF2-40B4-BE49-F238E27FC236}">
                  <a16:creationId xmlns:a16="http://schemas.microsoft.com/office/drawing/2014/main" id="{E2C51AC4-9C08-2A6C-C67A-C74639D9168F}"/>
                </a:ext>
              </a:extLst>
            </p:cNvPr>
            <p:cNvSpPr/>
            <p:nvPr/>
          </p:nvSpPr>
          <p:spPr>
            <a:xfrm>
              <a:off x="692412" y="3625775"/>
              <a:ext cx="2657102" cy="2175495"/>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849" i="1" dirty="0">
                  <a:latin typeface="Helvetica" pitchFamily="2" charset="0"/>
                </a:rPr>
                <a:t>Improve information accuracy and consistency by applying assessment standards across the organization </a:t>
              </a:r>
            </a:p>
            <a:p>
              <a:pPr>
                <a:defRPr/>
              </a:pPr>
              <a:endParaRPr lang="en-ZA" sz="849" dirty="0">
                <a:latin typeface="Helvetica" pitchFamily="2" charset="0"/>
              </a:endParaRPr>
            </a:p>
            <a:p>
              <a:pPr marL="161746" indent="-161746">
                <a:buFont typeface="Arial" panose="020B0604020202020204" pitchFamily="34" charset="0"/>
                <a:buChar char="•"/>
                <a:defRPr/>
              </a:pPr>
              <a:r>
                <a:rPr lang="en-ZA" sz="849" i="1" dirty="0">
                  <a:latin typeface="Helvetica" pitchFamily="2" charset="0"/>
                </a:rPr>
                <a:t>Enable segmented and consolidated views of all projects, groups of projects, or functional area projects </a:t>
              </a:r>
            </a:p>
            <a:p>
              <a:pPr>
                <a:defRPr/>
              </a:pPr>
              <a:endParaRPr lang="en-ZA" sz="849" dirty="0">
                <a:latin typeface="Helvetica" pitchFamily="2" charset="0"/>
              </a:endParaRPr>
            </a:p>
            <a:p>
              <a:pPr marL="161746" indent="-161746">
                <a:buFont typeface="Arial" panose="020B0604020202020204" pitchFamily="34" charset="0"/>
                <a:buChar char="•"/>
                <a:defRPr/>
              </a:pPr>
              <a:r>
                <a:rPr lang="en-ZA" sz="849" i="1" dirty="0">
                  <a:latin typeface="Helvetica" pitchFamily="2" charset="0"/>
                </a:rPr>
                <a:t>Visualize, at a glance, which aspects of your facilities or infrastructure require immediate attention </a:t>
              </a:r>
            </a:p>
            <a:p>
              <a:pPr>
                <a:defRPr/>
              </a:pPr>
              <a:endParaRPr lang="en-ZA" sz="849" dirty="0">
                <a:latin typeface="Helvetica" pitchFamily="2" charset="0"/>
              </a:endParaRPr>
            </a:p>
            <a:p>
              <a:pPr marL="161746" indent="-161746">
                <a:buFont typeface="Arial" panose="020B0604020202020204" pitchFamily="34" charset="0"/>
                <a:buChar char="•"/>
                <a:defRPr/>
              </a:pPr>
              <a:r>
                <a:rPr lang="en-ZA" sz="849" i="1" dirty="0" err="1">
                  <a:latin typeface="Helvetica" pitchFamily="2" charset="0"/>
                </a:rPr>
                <a:t>Analyze</a:t>
              </a:r>
              <a:r>
                <a:rPr lang="en-ZA" sz="849" i="1" dirty="0">
                  <a:latin typeface="Helvetica" pitchFamily="2" charset="0"/>
                </a:rPr>
                <a:t> the impact the condition of physical assets has on achieving strategic and operational missions </a:t>
              </a:r>
              <a:endParaRPr lang="en-ZA" sz="849" dirty="0">
                <a:latin typeface="Helvetica" pitchFamily="2" charset="0"/>
              </a:endParaRPr>
            </a:p>
          </p:txBody>
        </p:sp>
        <p:sp>
          <p:nvSpPr>
            <p:cNvPr id="45080" name="Rectangle 5">
              <a:extLst>
                <a:ext uri="{FF2B5EF4-FFF2-40B4-BE49-F238E27FC236}">
                  <a16:creationId xmlns:a16="http://schemas.microsoft.com/office/drawing/2014/main" id="{81133F29-EE5F-B7B4-7CFD-AF2AB5A20B97}"/>
                </a:ext>
              </a:extLst>
            </p:cNvPr>
            <p:cNvSpPr>
              <a:spLocks noChangeArrowheads="1"/>
            </p:cNvSpPr>
            <p:nvPr/>
          </p:nvSpPr>
          <p:spPr bwMode="auto">
            <a:xfrm>
              <a:off x="675606" y="3225760"/>
              <a:ext cx="2673908" cy="40546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ZA" altLang="en-US" sz="943" b="1">
                  <a:solidFill>
                    <a:schemeClr val="bg1"/>
                  </a:solidFill>
                  <a:latin typeface="Helvetica" pitchFamily="2" charset="0"/>
                </a:rPr>
                <a:t>Mitigate Risk and Prioritize Actions </a:t>
              </a:r>
              <a:endParaRPr lang="en-ZA" altLang="en-US" sz="943">
                <a:solidFill>
                  <a:schemeClr val="bg1"/>
                </a:solidFill>
                <a:latin typeface="Helvetica" pitchFamily="2" charset="0"/>
              </a:endParaRPr>
            </a:p>
          </p:txBody>
        </p:sp>
      </p:grpSp>
      <p:grpSp>
        <p:nvGrpSpPr>
          <p:cNvPr id="45062" name="Group 25">
            <a:extLst>
              <a:ext uri="{FF2B5EF4-FFF2-40B4-BE49-F238E27FC236}">
                <a16:creationId xmlns:a16="http://schemas.microsoft.com/office/drawing/2014/main" id="{C9F51C93-EF99-DC53-04AD-DA741E79B935}"/>
              </a:ext>
            </a:extLst>
          </p:cNvPr>
          <p:cNvGrpSpPr>
            <a:grpSpLocks/>
          </p:cNvGrpSpPr>
          <p:nvPr/>
        </p:nvGrpSpPr>
        <p:grpSpPr bwMode="auto">
          <a:xfrm>
            <a:off x="867862" y="2043583"/>
            <a:ext cx="2258388" cy="3965157"/>
            <a:chOff x="433312" y="5027877"/>
            <a:chExt cx="3752111" cy="2167285"/>
          </a:xfrm>
        </p:grpSpPr>
        <p:sp>
          <p:nvSpPr>
            <p:cNvPr id="7" name="Rectangle 6">
              <a:extLst>
                <a:ext uri="{FF2B5EF4-FFF2-40B4-BE49-F238E27FC236}">
                  <a16:creationId xmlns:a16="http://schemas.microsoft.com/office/drawing/2014/main" id="{CC3AFD94-2593-F4AE-D13F-8F06664E9C58}"/>
                </a:ext>
              </a:extLst>
            </p:cNvPr>
            <p:cNvSpPr/>
            <p:nvPr/>
          </p:nvSpPr>
          <p:spPr>
            <a:xfrm>
              <a:off x="433312" y="5279585"/>
              <a:ext cx="3637656" cy="1915577"/>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943" i="1" dirty="0">
                  <a:latin typeface="Helvetica" pitchFamily="2" charset="0"/>
                </a:rPr>
                <a:t>Extend asset service life by identifying minor repair issues before they escalate to </a:t>
              </a:r>
              <a:r>
                <a:rPr lang="en-ZA" sz="660" i="1" dirty="0">
                  <a:latin typeface="Helvetica" pitchFamily="2" charset="0"/>
                </a:rPr>
                <a:t>more</a:t>
              </a:r>
              <a:r>
                <a:rPr lang="en-ZA" sz="943" i="1" dirty="0">
                  <a:latin typeface="Helvetica" pitchFamily="2" charset="0"/>
                </a:rPr>
                <a:t> serious problems, such as damage to adjacent assets or total component failure </a:t>
              </a:r>
            </a:p>
            <a:p>
              <a:pPr>
                <a:defRPr/>
              </a:pPr>
              <a:endParaRPr lang="en-ZA" sz="943" dirty="0">
                <a:latin typeface="Helvetica" pitchFamily="2" charset="0"/>
              </a:endParaRPr>
            </a:p>
            <a:p>
              <a:pPr marL="161746" indent="-161746">
                <a:buFont typeface="Arial" panose="020B0604020202020204" pitchFamily="34" charset="0"/>
                <a:buChar char="•"/>
                <a:defRPr/>
              </a:pPr>
              <a:r>
                <a:rPr lang="en-ZA" sz="943" i="1" dirty="0">
                  <a:latin typeface="Helvetica" pitchFamily="2" charset="0"/>
                </a:rPr>
                <a:t>Reduce downtime and its associated costs through the proactive identification of asset deficiencies </a:t>
              </a:r>
            </a:p>
            <a:p>
              <a:pPr>
                <a:defRPr/>
              </a:pPr>
              <a:endParaRPr lang="en-ZA" sz="943" dirty="0">
                <a:latin typeface="Helvetica" pitchFamily="2" charset="0"/>
              </a:endParaRPr>
            </a:p>
            <a:p>
              <a:pPr marL="161746" indent="-161746">
                <a:buFont typeface="Arial" panose="020B0604020202020204" pitchFamily="34" charset="0"/>
                <a:buChar char="•"/>
                <a:defRPr/>
              </a:pPr>
              <a:r>
                <a:rPr lang="en-ZA" sz="943" i="1" dirty="0">
                  <a:latin typeface="Helvetica" pitchFamily="2" charset="0"/>
                </a:rPr>
                <a:t>Demonstrate that suitable mitigation measures are in place to manage identified risks </a:t>
              </a:r>
            </a:p>
            <a:p>
              <a:pPr>
                <a:defRPr/>
              </a:pPr>
              <a:endParaRPr lang="en-ZA" sz="943" dirty="0">
                <a:latin typeface="Helvetica" pitchFamily="2" charset="0"/>
              </a:endParaRPr>
            </a:p>
            <a:p>
              <a:pPr marL="161746" indent="-161746">
                <a:buFont typeface="Arial" panose="020B0604020202020204" pitchFamily="34" charset="0"/>
                <a:buChar char="•"/>
                <a:defRPr/>
              </a:pPr>
              <a:r>
                <a:rPr lang="en-ZA" sz="943" i="1" dirty="0">
                  <a:latin typeface="Helvetica" pitchFamily="2" charset="0"/>
                </a:rPr>
                <a:t>Integrate assessment and work order management for closed-loop problem resolution </a:t>
              </a:r>
              <a:endParaRPr lang="en-ZA" sz="943" dirty="0">
                <a:latin typeface="Helvetica" pitchFamily="2" charset="0"/>
              </a:endParaRPr>
            </a:p>
          </p:txBody>
        </p:sp>
        <p:sp>
          <p:nvSpPr>
            <p:cNvPr id="45078" name="Rectangle 7">
              <a:extLst>
                <a:ext uri="{FF2B5EF4-FFF2-40B4-BE49-F238E27FC236}">
                  <a16:creationId xmlns:a16="http://schemas.microsoft.com/office/drawing/2014/main" id="{CCB66281-8ABA-0118-16CF-332795A40754}"/>
                </a:ext>
              </a:extLst>
            </p:cNvPr>
            <p:cNvSpPr>
              <a:spLocks noChangeArrowheads="1"/>
            </p:cNvSpPr>
            <p:nvPr/>
          </p:nvSpPr>
          <p:spPr bwMode="auto">
            <a:xfrm>
              <a:off x="433312" y="5027877"/>
              <a:ext cx="3752111" cy="257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ZA" altLang="en-US" sz="943" b="1">
                  <a:solidFill>
                    <a:schemeClr val="bg1"/>
                  </a:solidFill>
                  <a:latin typeface="Helvetica" pitchFamily="2" charset="0"/>
                </a:rPr>
                <a:t>Identify Deficiencies and Extend Service Life </a:t>
              </a:r>
            </a:p>
          </p:txBody>
        </p:sp>
      </p:grpSp>
      <p:grpSp>
        <p:nvGrpSpPr>
          <p:cNvPr id="45063" name="Group 18">
            <a:extLst>
              <a:ext uri="{FF2B5EF4-FFF2-40B4-BE49-F238E27FC236}">
                <a16:creationId xmlns:a16="http://schemas.microsoft.com/office/drawing/2014/main" id="{D204D5E0-8DA7-2675-D0BC-0A647402CE18}"/>
              </a:ext>
            </a:extLst>
          </p:cNvPr>
          <p:cNvGrpSpPr>
            <a:grpSpLocks/>
          </p:cNvGrpSpPr>
          <p:nvPr/>
        </p:nvGrpSpPr>
        <p:grpSpPr bwMode="auto">
          <a:xfrm>
            <a:off x="5824933" y="1735403"/>
            <a:ext cx="2354236" cy="2105455"/>
            <a:chOff x="5290367" y="3440524"/>
            <a:chExt cx="2724229" cy="2231467"/>
          </a:xfrm>
        </p:grpSpPr>
        <p:sp>
          <p:nvSpPr>
            <p:cNvPr id="9" name="Rectangle 8">
              <a:extLst>
                <a:ext uri="{FF2B5EF4-FFF2-40B4-BE49-F238E27FC236}">
                  <a16:creationId xmlns:a16="http://schemas.microsoft.com/office/drawing/2014/main" id="{63320D4E-26C9-0F13-ED0D-FAC4CFD2D51D}"/>
                </a:ext>
              </a:extLst>
            </p:cNvPr>
            <p:cNvSpPr/>
            <p:nvPr/>
          </p:nvSpPr>
          <p:spPr>
            <a:xfrm>
              <a:off x="5290367" y="3728672"/>
              <a:ext cx="2706898" cy="1943319"/>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943" i="1" dirty="0">
                  <a:latin typeface="Helvetica" pitchFamily="2" charset="0"/>
                </a:rPr>
                <a:t>Prepare budgets for capital renewal, preventive maintenance, and repairs with ease </a:t>
              </a:r>
              <a:endParaRPr lang="en-ZA" sz="943" dirty="0">
                <a:latin typeface="Helvetica" pitchFamily="2" charset="0"/>
              </a:endParaRPr>
            </a:p>
            <a:p>
              <a:pPr marL="161746" indent="-161746">
                <a:buFont typeface="Arial" panose="020B0604020202020204" pitchFamily="34" charset="0"/>
                <a:buChar char="•"/>
                <a:defRPr/>
              </a:pPr>
              <a:r>
                <a:rPr lang="en-ZA" sz="943" i="1" dirty="0">
                  <a:latin typeface="Helvetica" pitchFamily="2" charset="0"/>
                </a:rPr>
                <a:t>Triage spending by focusing inspection on the most susceptible assets or system</a:t>
              </a:r>
              <a:r>
                <a:rPr lang="en-ZA" sz="943" dirty="0">
                  <a:latin typeface="Helvetica" pitchFamily="2" charset="0"/>
                </a:rPr>
                <a:t>s </a:t>
              </a:r>
            </a:p>
            <a:p>
              <a:pPr marL="161746" indent="-161746">
                <a:buFont typeface="Arial" panose="020B0604020202020204" pitchFamily="34" charset="0"/>
                <a:buChar char="•"/>
                <a:defRPr/>
              </a:pPr>
              <a:r>
                <a:rPr lang="en-ZA" sz="943" i="1" dirty="0">
                  <a:latin typeface="Helvetica" pitchFamily="2" charset="0"/>
                </a:rPr>
                <a:t>Compare results from different time periods to determine a facility’s or organization’s improvement </a:t>
              </a:r>
              <a:endParaRPr lang="en-ZA" sz="943" dirty="0">
                <a:latin typeface="Helvetica" pitchFamily="2" charset="0"/>
              </a:endParaRPr>
            </a:p>
            <a:p>
              <a:pPr marL="161746" indent="-161746">
                <a:buFont typeface="Arial" panose="020B0604020202020204" pitchFamily="34" charset="0"/>
                <a:buChar char="•"/>
                <a:defRPr/>
              </a:pPr>
              <a:r>
                <a:rPr lang="en-ZA" sz="943" i="1" dirty="0">
                  <a:latin typeface="Helvetica" pitchFamily="2" charset="0"/>
                </a:rPr>
                <a:t>Weigh the importance of your physical assets and allocate funds to the most critical areas </a:t>
              </a:r>
              <a:endParaRPr lang="en-ZA" sz="943" dirty="0">
                <a:latin typeface="Helvetica" pitchFamily="2" charset="0"/>
              </a:endParaRPr>
            </a:p>
          </p:txBody>
        </p:sp>
        <p:sp>
          <p:nvSpPr>
            <p:cNvPr id="45076" name="Rectangle 10">
              <a:extLst>
                <a:ext uri="{FF2B5EF4-FFF2-40B4-BE49-F238E27FC236}">
                  <a16:creationId xmlns:a16="http://schemas.microsoft.com/office/drawing/2014/main" id="{9159E2C8-8AAF-2C3B-A84F-4F3252AF19AD}"/>
                </a:ext>
              </a:extLst>
            </p:cNvPr>
            <p:cNvSpPr>
              <a:spLocks noChangeArrowheads="1"/>
            </p:cNvSpPr>
            <p:nvPr/>
          </p:nvSpPr>
          <p:spPr bwMode="auto">
            <a:xfrm>
              <a:off x="5307699" y="3440524"/>
              <a:ext cx="2706897" cy="25164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ZA" altLang="en-US" sz="943" b="1" dirty="0">
                  <a:solidFill>
                    <a:schemeClr val="bg1"/>
                  </a:solidFill>
                  <a:latin typeface="Helvetica" pitchFamily="2" charset="0"/>
                </a:rPr>
                <a:t>Justify Budgets and Spending </a:t>
              </a:r>
            </a:p>
          </p:txBody>
        </p:sp>
      </p:grpSp>
      <p:grpSp>
        <p:nvGrpSpPr>
          <p:cNvPr id="45064" name="Group 19">
            <a:extLst>
              <a:ext uri="{FF2B5EF4-FFF2-40B4-BE49-F238E27FC236}">
                <a16:creationId xmlns:a16="http://schemas.microsoft.com/office/drawing/2014/main" id="{F5A9F2E3-2106-F95A-44EE-A62355226005}"/>
              </a:ext>
            </a:extLst>
          </p:cNvPr>
          <p:cNvGrpSpPr>
            <a:grpSpLocks/>
          </p:cNvGrpSpPr>
          <p:nvPr/>
        </p:nvGrpSpPr>
        <p:grpSpPr bwMode="auto">
          <a:xfrm>
            <a:off x="5932762" y="3909736"/>
            <a:ext cx="2262880" cy="2487542"/>
            <a:chOff x="5856433" y="4768405"/>
            <a:chExt cx="2646435" cy="2636819"/>
          </a:xfrm>
        </p:grpSpPr>
        <p:sp>
          <p:nvSpPr>
            <p:cNvPr id="13" name="Rectangle 12">
              <a:extLst>
                <a:ext uri="{FF2B5EF4-FFF2-40B4-BE49-F238E27FC236}">
                  <a16:creationId xmlns:a16="http://schemas.microsoft.com/office/drawing/2014/main" id="{1FB3A552-17A3-8406-41E7-CB6FF7CC0CF4}"/>
                </a:ext>
              </a:extLst>
            </p:cNvPr>
            <p:cNvSpPr/>
            <p:nvPr/>
          </p:nvSpPr>
          <p:spPr>
            <a:xfrm>
              <a:off x="5856433" y="5000177"/>
              <a:ext cx="2646435" cy="2405047"/>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943" i="1" dirty="0">
                  <a:latin typeface="Helvetica" pitchFamily="2" charset="0"/>
                </a:rPr>
                <a:t>Integrate seamlessly with supported mobile devices to enable cost-effective inspections and reporting </a:t>
              </a:r>
              <a:endParaRPr lang="en-ZA" sz="943" dirty="0">
                <a:latin typeface="Helvetica" pitchFamily="2" charset="0"/>
              </a:endParaRPr>
            </a:p>
            <a:p>
              <a:pPr marL="161746" indent="-161746">
                <a:buFont typeface="Arial" panose="020B0604020202020204" pitchFamily="34" charset="0"/>
                <a:buChar char="•"/>
                <a:defRPr/>
              </a:pPr>
              <a:r>
                <a:rPr lang="en-ZA" sz="943" i="1" dirty="0">
                  <a:latin typeface="Helvetica" pitchFamily="2" charset="0"/>
                </a:rPr>
                <a:t>Present easily compiled, complete, and defensible condition assessment findings to justify funding </a:t>
              </a:r>
              <a:endParaRPr lang="en-ZA" sz="943" dirty="0">
                <a:latin typeface="Helvetica" pitchFamily="2" charset="0"/>
              </a:endParaRPr>
            </a:p>
            <a:p>
              <a:pPr marL="161746" indent="-161746">
                <a:buFont typeface="Arial" panose="020B0604020202020204" pitchFamily="34" charset="0"/>
                <a:buChar char="•"/>
                <a:defRPr/>
              </a:pPr>
              <a:r>
                <a:rPr lang="en-ZA" sz="943" i="1" dirty="0">
                  <a:latin typeface="Helvetica" pitchFamily="2" charset="0"/>
                </a:rPr>
                <a:t>Reduce data collection and analysis efforts by applying assessment criteria to existing ARCHIBUS asset data </a:t>
              </a:r>
              <a:endParaRPr lang="en-ZA" sz="943" dirty="0">
                <a:latin typeface="Helvetica" pitchFamily="2" charset="0"/>
              </a:endParaRPr>
            </a:p>
            <a:p>
              <a:pPr marL="161746" indent="-161746">
                <a:buFont typeface="Arial" panose="020B0604020202020204" pitchFamily="34" charset="0"/>
                <a:buChar char="•"/>
                <a:defRPr/>
              </a:pPr>
              <a:r>
                <a:rPr lang="en-ZA" sz="943" i="1" dirty="0">
                  <a:latin typeface="Helvetica" pitchFamily="2" charset="0"/>
                </a:rPr>
                <a:t>Import and export asset data and assessment values effortlessly to facilitate assessments and informed decision-making </a:t>
              </a:r>
              <a:endParaRPr lang="en-ZA" sz="943" dirty="0">
                <a:latin typeface="Helvetica" pitchFamily="2" charset="0"/>
              </a:endParaRPr>
            </a:p>
          </p:txBody>
        </p:sp>
        <p:sp>
          <p:nvSpPr>
            <p:cNvPr id="45074" name="Rectangle 14">
              <a:extLst>
                <a:ext uri="{FF2B5EF4-FFF2-40B4-BE49-F238E27FC236}">
                  <a16:creationId xmlns:a16="http://schemas.microsoft.com/office/drawing/2014/main" id="{23912571-CB55-E5E7-E6AA-41B2F2228D1D}"/>
                </a:ext>
              </a:extLst>
            </p:cNvPr>
            <p:cNvSpPr>
              <a:spLocks noChangeArrowheads="1"/>
            </p:cNvSpPr>
            <p:nvPr/>
          </p:nvSpPr>
          <p:spPr bwMode="auto">
            <a:xfrm>
              <a:off x="5856433" y="4768405"/>
              <a:ext cx="2646435" cy="25168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ZA" altLang="en-US" sz="943" b="1">
                  <a:solidFill>
                    <a:schemeClr val="bg1"/>
                  </a:solidFill>
                  <a:latin typeface="Helvetica" pitchFamily="2" charset="0"/>
                </a:rPr>
                <a:t>Reduce Administrative Cost </a:t>
              </a:r>
            </a:p>
          </p:txBody>
        </p:sp>
      </p:grpSp>
      <p:grpSp>
        <p:nvGrpSpPr>
          <p:cNvPr id="45065" name="Group 15">
            <a:extLst>
              <a:ext uri="{FF2B5EF4-FFF2-40B4-BE49-F238E27FC236}">
                <a16:creationId xmlns:a16="http://schemas.microsoft.com/office/drawing/2014/main" id="{C914EE0B-8E83-F9D9-AD8D-0ED06926E1F9}"/>
              </a:ext>
            </a:extLst>
          </p:cNvPr>
          <p:cNvGrpSpPr>
            <a:grpSpLocks/>
          </p:cNvGrpSpPr>
          <p:nvPr/>
        </p:nvGrpSpPr>
        <p:grpSpPr bwMode="auto">
          <a:xfrm>
            <a:off x="9172080" y="1735403"/>
            <a:ext cx="2409646" cy="4016311"/>
            <a:chOff x="8471374" y="637560"/>
            <a:chExt cx="2043582" cy="3216953"/>
          </a:xfrm>
        </p:grpSpPr>
        <p:sp>
          <p:nvSpPr>
            <p:cNvPr id="3" name="Rectangle 2">
              <a:extLst>
                <a:ext uri="{FF2B5EF4-FFF2-40B4-BE49-F238E27FC236}">
                  <a16:creationId xmlns:a16="http://schemas.microsoft.com/office/drawing/2014/main" id="{45F28740-94FC-AF64-2069-71DF1350B794}"/>
                </a:ext>
              </a:extLst>
            </p:cNvPr>
            <p:cNvSpPr/>
            <p:nvPr/>
          </p:nvSpPr>
          <p:spPr>
            <a:xfrm>
              <a:off x="8471374" y="1093946"/>
              <a:ext cx="2043582" cy="2760567"/>
            </a:xfrm>
            <a:prstGeom prst="rect">
              <a:avLst/>
            </a:prstGeom>
            <a:ln>
              <a:solidFill>
                <a:schemeClr val="accent1"/>
              </a:solidFill>
              <a:prstDash val="dash"/>
            </a:ln>
          </p:spPr>
          <p:txBody>
            <a:bodyPr>
              <a:spAutoFit/>
            </a:bodyPr>
            <a:lstStyle/>
            <a:p>
              <a:pPr marL="161746" indent="-161746">
                <a:buFont typeface="Arial" panose="020B0604020202020204" pitchFamily="34" charset="0"/>
                <a:buChar char="•"/>
                <a:defRPr/>
              </a:pPr>
              <a:r>
                <a:rPr lang="en-ZA" sz="1038" dirty="0"/>
                <a:t>Mitigate risk by prioritizing problems for correction, based on objective measures and organizational needs</a:t>
              </a:r>
            </a:p>
            <a:p>
              <a:pPr>
                <a:defRPr/>
              </a:pPr>
              <a:endParaRPr lang="en-ZA" sz="1038" dirty="0"/>
            </a:p>
            <a:p>
              <a:pPr marL="161746" indent="-161746">
                <a:buFont typeface="Arial" panose="020B0604020202020204" pitchFamily="34" charset="0"/>
                <a:buChar char="•"/>
                <a:defRPr/>
              </a:pPr>
              <a:r>
                <a:rPr lang="en-ZA" sz="1038" dirty="0"/>
                <a:t>Enables proactive identification of deficiencies to extend asset service life</a:t>
              </a:r>
            </a:p>
            <a:p>
              <a:pPr>
                <a:defRPr/>
              </a:pPr>
              <a:endParaRPr lang="en-ZA" sz="1038" dirty="0"/>
            </a:p>
            <a:p>
              <a:pPr marL="161746" indent="-161746">
                <a:buFont typeface="Arial" panose="020B0604020202020204" pitchFamily="34" charset="0"/>
                <a:buChar char="•"/>
                <a:defRPr/>
              </a:pPr>
              <a:r>
                <a:rPr lang="en-ZA" sz="1038" dirty="0"/>
                <a:t>Demonstrate </a:t>
              </a:r>
              <a:r>
                <a:rPr lang="en-ZA" sz="991" dirty="0"/>
                <a:t>how</a:t>
              </a:r>
              <a:r>
                <a:rPr lang="en-ZA" sz="1038" dirty="0"/>
                <a:t> costs are associated with corrective measures to justify budgets</a:t>
              </a:r>
            </a:p>
            <a:p>
              <a:pPr>
                <a:defRPr/>
              </a:pPr>
              <a:endParaRPr lang="en-ZA" sz="1038" dirty="0"/>
            </a:p>
            <a:p>
              <a:pPr marL="161746" indent="-161746">
                <a:buFont typeface="Arial" panose="020B0604020202020204" pitchFamily="34" charset="0"/>
                <a:buChar char="•"/>
                <a:defRPr/>
              </a:pPr>
              <a:r>
                <a:rPr lang="en-ZA" sz="1038" dirty="0"/>
                <a:t>Reduce administrative cost by establishing a closed loop assessment and resolution process costs</a:t>
              </a:r>
            </a:p>
          </p:txBody>
        </p:sp>
        <p:sp>
          <p:nvSpPr>
            <p:cNvPr id="21" name="Rectangle 20">
              <a:extLst>
                <a:ext uri="{FF2B5EF4-FFF2-40B4-BE49-F238E27FC236}">
                  <a16:creationId xmlns:a16="http://schemas.microsoft.com/office/drawing/2014/main" id="{ECAEBB34-7A70-0C03-73F4-B37E58BF666F}"/>
                </a:ext>
              </a:extLst>
            </p:cNvPr>
            <p:cNvSpPr/>
            <p:nvPr/>
          </p:nvSpPr>
          <p:spPr>
            <a:xfrm>
              <a:off x="8471374" y="637560"/>
              <a:ext cx="2043582" cy="353038"/>
            </a:xfrm>
            <a:prstGeom prst="rect">
              <a:avLst/>
            </a:prstGeom>
            <a:solidFill>
              <a:schemeClr val="accent3">
                <a:lumMod val="20000"/>
                <a:lumOff val="80000"/>
              </a:schemeClr>
            </a:solidFill>
          </p:spPr>
          <p:txBody>
            <a:bodyPr>
              <a:spAutoFit/>
            </a:bodyPr>
            <a:lstStyle/>
            <a:p>
              <a:pPr algn="ctr">
                <a:defRPr/>
              </a:pPr>
              <a:r>
                <a:rPr lang="en-ZA" sz="2264" b="1" dirty="0">
                  <a:latin typeface="Helvetica" pitchFamily="2" charset="0"/>
                </a:rPr>
                <a:t>Benefits</a:t>
              </a:r>
            </a:p>
          </p:txBody>
        </p:sp>
      </p:grpSp>
      <p:sp>
        <p:nvSpPr>
          <p:cNvPr id="31" name="Rectangle 30">
            <a:extLst>
              <a:ext uri="{FF2B5EF4-FFF2-40B4-BE49-F238E27FC236}">
                <a16:creationId xmlns:a16="http://schemas.microsoft.com/office/drawing/2014/main" id="{A0EC1C9A-68EF-82BE-8653-E4EA47307F0B}"/>
              </a:ext>
            </a:extLst>
          </p:cNvPr>
          <p:cNvSpPr/>
          <p:nvPr/>
        </p:nvSpPr>
        <p:spPr>
          <a:xfrm>
            <a:off x="610274" y="1412333"/>
            <a:ext cx="7874406" cy="498855"/>
          </a:xfrm>
          <a:prstGeom prst="rect">
            <a:avLst/>
          </a:prstGeom>
        </p:spPr>
        <p:txBody>
          <a:bodyPr>
            <a:spAutoFit/>
          </a:bodyPr>
          <a:lstStyle/>
          <a:p>
            <a:pPr>
              <a:defRPr/>
            </a:pPr>
            <a:r>
              <a:rPr lang="en-ZA" sz="1321" b="1" i="1" dirty="0">
                <a:solidFill>
                  <a:schemeClr val="accent6">
                    <a:lumMod val="50000"/>
                  </a:schemeClr>
                </a:solidFill>
              </a:rPr>
              <a:t>Track and effectively manage deferred maintenance liabilities to mitigate risk and enable a closed loop process in taking corrective actions</a:t>
            </a:r>
          </a:p>
        </p:txBody>
      </p:sp>
      <p:cxnSp>
        <p:nvCxnSpPr>
          <p:cNvPr id="32" name="Straight Connector 31">
            <a:extLst>
              <a:ext uri="{FF2B5EF4-FFF2-40B4-BE49-F238E27FC236}">
                <a16:creationId xmlns:a16="http://schemas.microsoft.com/office/drawing/2014/main" id="{54ACE3A1-2C20-4EF6-FCD8-6380270D6B85}"/>
              </a:ext>
            </a:extLst>
          </p:cNvPr>
          <p:cNvCxnSpPr>
            <a:cxnSpLocks/>
          </p:cNvCxnSpPr>
          <p:nvPr/>
        </p:nvCxnSpPr>
        <p:spPr>
          <a:xfrm>
            <a:off x="3265527" y="1302403"/>
            <a:ext cx="0" cy="5234129"/>
          </a:xfrm>
          <a:prstGeom prst="line">
            <a:avLst/>
          </a:prstGeom>
          <a:ln>
            <a:solidFill>
              <a:schemeClr val="tx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080F561-0C59-0B39-FEA6-F8DC94290D8B}"/>
              </a:ext>
            </a:extLst>
          </p:cNvPr>
          <p:cNvCxnSpPr>
            <a:cxnSpLocks/>
          </p:cNvCxnSpPr>
          <p:nvPr/>
        </p:nvCxnSpPr>
        <p:spPr>
          <a:xfrm>
            <a:off x="8325934" y="1279938"/>
            <a:ext cx="0" cy="5234128"/>
          </a:xfrm>
          <a:prstGeom prst="line">
            <a:avLst/>
          </a:prstGeom>
          <a:ln>
            <a:solidFill>
              <a:schemeClr val="tx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3AB81FE-63C4-A07F-28EE-562BC0052FF5}"/>
              </a:ext>
            </a:extLst>
          </p:cNvPr>
          <p:cNvCxnSpPr>
            <a:cxnSpLocks/>
          </p:cNvCxnSpPr>
          <p:nvPr/>
        </p:nvCxnSpPr>
        <p:spPr>
          <a:xfrm>
            <a:off x="5709618" y="1302403"/>
            <a:ext cx="0" cy="5234129"/>
          </a:xfrm>
          <a:prstGeom prst="line">
            <a:avLst/>
          </a:prstGeom>
          <a:ln>
            <a:solidFill>
              <a:schemeClr val="tx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4355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a:extLst>
              <a:ext uri="{FF2B5EF4-FFF2-40B4-BE49-F238E27FC236}">
                <a16:creationId xmlns:a16="http://schemas.microsoft.com/office/drawing/2014/main" id="{9C432DE4-DF26-1D71-3268-24EB61FAE084}"/>
              </a:ext>
            </a:extLst>
          </p:cNvPr>
          <p:cNvCxnSpPr>
            <a:cxnSpLocks/>
          </p:cNvCxnSpPr>
          <p:nvPr/>
        </p:nvCxnSpPr>
        <p:spPr>
          <a:xfrm flipV="1">
            <a:off x="884336" y="811187"/>
            <a:ext cx="0" cy="57403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9B0D371-8B31-0C69-D236-4F2794CB8ACB}"/>
              </a:ext>
            </a:extLst>
          </p:cNvPr>
          <p:cNvCxnSpPr>
            <a:cxnSpLocks/>
          </p:cNvCxnSpPr>
          <p:nvPr/>
        </p:nvCxnSpPr>
        <p:spPr>
          <a:xfrm>
            <a:off x="718102" y="6610168"/>
            <a:ext cx="798522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2001C80B-D0E6-7843-FDCA-09DB0B6CBF2D}"/>
              </a:ext>
            </a:extLst>
          </p:cNvPr>
          <p:cNvSpPr/>
          <p:nvPr/>
        </p:nvSpPr>
        <p:spPr>
          <a:xfrm>
            <a:off x="3931649" y="1525195"/>
            <a:ext cx="5162393" cy="498855"/>
          </a:xfrm>
          <a:prstGeom prst="rect">
            <a:avLst/>
          </a:prstGeom>
        </p:spPr>
        <p:txBody>
          <a:bodyPr wrap="square">
            <a:spAutoFit/>
          </a:bodyPr>
          <a:lstStyle/>
          <a:p>
            <a:pPr>
              <a:defRPr/>
            </a:pPr>
            <a:r>
              <a:rPr lang="en-ZA" sz="1321" b="1" i="1" dirty="0">
                <a:solidFill>
                  <a:schemeClr val="accent6">
                    <a:lumMod val="50000"/>
                  </a:schemeClr>
                </a:solidFill>
              </a:rPr>
              <a:t>Master the capital budget cycle to achieve improved, centralized strategic planning across the organization</a:t>
            </a:r>
          </a:p>
        </p:txBody>
      </p:sp>
      <p:sp>
        <p:nvSpPr>
          <p:cNvPr id="46085" name="Rectangle 3">
            <a:extLst>
              <a:ext uri="{FF2B5EF4-FFF2-40B4-BE49-F238E27FC236}">
                <a16:creationId xmlns:a16="http://schemas.microsoft.com/office/drawing/2014/main" id="{BFD1E1A7-8311-9E7B-A945-78E67BFA05E0}"/>
              </a:ext>
            </a:extLst>
          </p:cNvPr>
          <p:cNvSpPr>
            <a:spLocks noChangeArrowheads="1"/>
          </p:cNvSpPr>
          <p:nvPr/>
        </p:nvSpPr>
        <p:spPr bwMode="auto">
          <a:xfrm>
            <a:off x="8989372" y="2646380"/>
            <a:ext cx="1786261" cy="3228576"/>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marL="171450" indent="-1714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buFont typeface="Arial" panose="020B0604020202020204" pitchFamily="34" charset="0"/>
              <a:buChar char="•"/>
            </a:pPr>
            <a:r>
              <a:rPr lang="en-ZA" altLang="en-US" sz="849" dirty="0">
                <a:latin typeface="Helvetica" pitchFamily="2" charset="0"/>
              </a:rPr>
              <a:t>Summarize all capital planning activity in a consistent format to prioritize programs and projects, coordinate activities, and budget resources</a:t>
            </a:r>
          </a:p>
          <a:p>
            <a:pPr>
              <a:buFont typeface="Arial" panose="020B0604020202020204" pitchFamily="34" charset="0"/>
              <a:buChar char="•"/>
            </a:pPr>
            <a:endParaRPr lang="en-ZA" altLang="en-US" sz="849" dirty="0">
              <a:latin typeface="Helvetica" pitchFamily="2" charset="0"/>
            </a:endParaRPr>
          </a:p>
          <a:p>
            <a:pPr>
              <a:buFont typeface="Arial" panose="020B0604020202020204" pitchFamily="34" charset="0"/>
              <a:buChar char="•"/>
            </a:pPr>
            <a:r>
              <a:rPr lang="en-ZA" altLang="en-US" sz="849" dirty="0">
                <a:latin typeface="Helvetica" pitchFamily="2" charset="0"/>
              </a:rPr>
              <a:t>Develop a centralized methodology to efficiently manage capital projects across multiple departments and sites</a:t>
            </a:r>
          </a:p>
          <a:p>
            <a:pPr>
              <a:buFont typeface="Arial" panose="020B0604020202020204" pitchFamily="34" charset="0"/>
              <a:buChar char="•"/>
            </a:pPr>
            <a:endParaRPr lang="en-ZA" altLang="en-US" sz="849" dirty="0">
              <a:latin typeface="Helvetica" pitchFamily="2" charset="0"/>
            </a:endParaRPr>
          </a:p>
          <a:p>
            <a:pPr>
              <a:buFont typeface="Arial" panose="020B0604020202020204" pitchFamily="34" charset="0"/>
              <a:buChar char="•"/>
            </a:pPr>
            <a:r>
              <a:rPr lang="en-ZA" altLang="en-US" sz="849" dirty="0">
                <a:latin typeface="Helvetica" pitchFamily="2" charset="0"/>
              </a:rPr>
              <a:t>Enable “what-if” planning to reduce business interruption and cost overruns</a:t>
            </a:r>
          </a:p>
          <a:p>
            <a:pPr>
              <a:buFont typeface="Arial" panose="020B0604020202020204" pitchFamily="34" charset="0"/>
              <a:buChar char="•"/>
            </a:pPr>
            <a:endParaRPr lang="en-ZA" altLang="en-US" sz="849" dirty="0">
              <a:latin typeface="Helvetica" pitchFamily="2" charset="0"/>
            </a:endParaRPr>
          </a:p>
          <a:p>
            <a:pPr>
              <a:buFont typeface="Arial" panose="020B0604020202020204" pitchFamily="34" charset="0"/>
              <a:buChar char="•"/>
            </a:pPr>
            <a:r>
              <a:rPr lang="en-ZA" altLang="en-US" sz="849" dirty="0">
                <a:latin typeface="Helvetica" pitchFamily="2" charset="0"/>
              </a:rPr>
              <a:t>Integrate condition assessment, capital budgeting, and project management functions to better allocate budget and resources for complete end-to-end planning</a:t>
            </a:r>
          </a:p>
        </p:txBody>
      </p:sp>
      <p:grpSp>
        <p:nvGrpSpPr>
          <p:cNvPr id="46086" name="Group 14">
            <a:extLst>
              <a:ext uri="{FF2B5EF4-FFF2-40B4-BE49-F238E27FC236}">
                <a16:creationId xmlns:a16="http://schemas.microsoft.com/office/drawing/2014/main" id="{6BAC7DAB-675C-78B7-B31E-BF8A9D081B43}"/>
              </a:ext>
            </a:extLst>
          </p:cNvPr>
          <p:cNvGrpSpPr>
            <a:grpSpLocks/>
          </p:cNvGrpSpPr>
          <p:nvPr/>
        </p:nvGrpSpPr>
        <p:grpSpPr bwMode="auto">
          <a:xfrm>
            <a:off x="3906877" y="2472682"/>
            <a:ext cx="2140077" cy="3828889"/>
            <a:chOff x="1379599" y="1472775"/>
            <a:chExt cx="2629266" cy="1529478"/>
          </a:xfrm>
        </p:grpSpPr>
        <p:sp>
          <p:nvSpPr>
            <p:cNvPr id="6" name="Rectangle 5">
              <a:extLst>
                <a:ext uri="{FF2B5EF4-FFF2-40B4-BE49-F238E27FC236}">
                  <a16:creationId xmlns:a16="http://schemas.microsoft.com/office/drawing/2014/main" id="{DF9C65F7-8C06-16CE-7124-7C656D91716B}"/>
                </a:ext>
              </a:extLst>
            </p:cNvPr>
            <p:cNvSpPr/>
            <p:nvPr/>
          </p:nvSpPr>
          <p:spPr>
            <a:xfrm>
              <a:off x="1379599" y="1729595"/>
              <a:ext cx="2618226" cy="1272658"/>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849" dirty="0">
                  <a:latin typeface="Helvetica" pitchFamily="2" charset="0"/>
                </a:rPr>
                <a:t>Match project activities to the appropriate funding source(s) to ensure that program needs are met on-time and within budget</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Enables personalized workflow processes to help users manage the scope of a project, from task-level detail to multi-year budget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Develop a centralized knowledge base of capital budgets that provides a history of past budgets and a benchmark for future project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Coordinate projects and their timeframes using Web based calendars and executive overview Gantt charts</a:t>
              </a:r>
            </a:p>
          </p:txBody>
        </p:sp>
        <p:sp>
          <p:nvSpPr>
            <p:cNvPr id="8" name="TextBox 7">
              <a:extLst>
                <a:ext uri="{FF2B5EF4-FFF2-40B4-BE49-F238E27FC236}">
                  <a16:creationId xmlns:a16="http://schemas.microsoft.com/office/drawing/2014/main" id="{A234AB5B-7F28-9071-FB91-A28CB586ACAC}"/>
                </a:ext>
              </a:extLst>
            </p:cNvPr>
            <p:cNvSpPr txBox="1"/>
            <p:nvPr/>
          </p:nvSpPr>
          <p:spPr>
            <a:xfrm>
              <a:off x="1390639" y="1472775"/>
              <a:ext cx="2618226" cy="217824"/>
            </a:xfrm>
            <a:prstGeom prst="rect">
              <a:avLst/>
            </a:prstGeom>
            <a:solidFill>
              <a:schemeClr val="accent5"/>
            </a:solidFill>
          </p:spPr>
          <p:txBody>
            <a:bodyPr>
              <a:spAutoFit/>
            </a:bodyPr>
            <a:lstStyle>
              <a:defPPr>
                <a:defRPr lang="en-US"/>
              </a:defPPr>
              <a:lvl1pPr>
                <a:defRPr sz="1200">
                  <a:solidFill>
                    <a:schemeClr val="accent6">
                      <a:lumMod val="50000"/>
                    </a:schemeClr>
                  </a:solidFill>
                  <a:latin typeface="Helvetica" pitchFamily="2" charset="0"/>
                </a:defRPr>
              </a:lvl1pPr>
            </a:lstStyle>
            <a:p>
              <a:pPr>
                <a:defRPr/>
              </a:pPr>
              <a:r>
                <a:rPr lang="en-US" sz="1132" dirty="0">
                  <a:solidFill>
                    <a:schemeClr val="bg1"/>
                  </a:solidFill>
                </a:rPr>
                <a:t>Consolidate Planning Activities</a:t>
              </a:r>
            </a:p>
          </p:txBody>
        </p:sp>
      </p:grpSp>
      <p:sp>
        <p:nvSpPr>
          <p:cNvPr id="19" name="TextBox 18">
            <a:extLst>
              <a:ext uri="{FF2B5EF4-FFF2-40B4-BE49-F238E27FC236}">
                <a16:creationId xmlns:a16="http://schemas.microsoft.com/office/drawing/2014/main" id="{21CC6DBE-084C-3BC7-14F6-688D1FA481A9}"/>
              </a:ext>
            </a:extLst>
          </p:cNvPr>
          <p:cNvSpPr txBox="1"/>
          <p:nvPr/>
        </p:nvSpPr>
        <p:spPr>
          <a:xfrm>
            <a:off x="9094042" y="2152415"/>
            <a:ext cx="1849542" cy="440762"/>
          </a:xfrm>
          <a:prstGeom prst="rect">
            <a:avLst/>
          </a:prstGeom>
          <a:solidFill>
            <a:schemeClr val="accent3">
              <a:lumMod val="20000"/>
              <a:lumOff val="80000"/>
            </a:schemeClr>
          </a:solidFill>
        </p:spPr>
        <p:txBody>
          <a:bodyPr>
            <a:spAutoFit/>
          </a:bodyPr>
          <a:lstStyle>
            <a:defPPr>
              <a:defRPr lang="en-US"/>
            </a:defPPr>
            <a:lvl1pPr algn="ctr">
              <a:defRPr sz="2400">
                <a:solidFill>
                  <a:srgbClr val="76D7FF"/>
                </a:solidFill>
                <a:latin typeface="Helvetica" pitchFamily="2" charset="0"/>
              </a:defRPr>
            </a:lvl1pPr>
          </a:lstStyle>
          <a:p>
            <a:pPr>
              <a:defRPr/>
            </a:pPr>
            <a:r>
              <a:rPr lang="en-US" sz="2264" b="1" dirty="0"/>
              <a:t>Benefits</a:t>
            </a:r>
          </a:p>
        </p:txBody>
      </p:sp>
      <p:grpSp>
        <p:nvGrpSpPr>
          <p:cNvPr id="46088" name="Group 15">
            <a:extLst>
              <a:ext uri="{FF2B5EF4-FFF2-40B4-BE49-F238E27FC236}">
                <a16:creationId xmlns:a16="http://schemas.microsoft.com/office/drawing/2014/main" id="{C0EC2DFD-D9E7-3145-39FE-FE2EDF9F2A86}"/>
              </a:ext>
            </a:extLst>
          </p:cNvPr>
          <p:cNvGrpSpPr>
            <a:grpSpLocks/>
          </p:cNvGrpSpPr>
          <p:nvPr/>
        </p:nvGrpSpPr>
        <p:grpSpPr bwMode="auto">
          <a:xfrm>
            <a:off x="1518573" y="1670361"/>
            <a:ext cx="2262880" cy="5397468"/>
            <a:chOff x="1563583" y="3948530"/>
            <a:chExt cx="2743059" cy="5722360"/>
          </a:xfrm>
        </p:grpSpPr>
        <p:sp>
          <p:nvSpPr>
            <p:cNvPr id="24" name="TextBox 23">
              <a:extLst>
                <a:ext uri="{FF2B5EF4-FFF2-40B4-BE49-F238E27FC236}">
                  <a16:creationId xmlns:a16="http://schemas.microsoft.com/office/drawing/2014/main" id="{300A261B-88DD-1FC8-406F-CBAC93DF3A8A}"/>
                </a:ext>
              </a:extLst>
            </p:cNvPr>
            <p:cNvSpPr txBox="1"/>
            <p:nvPr/>
          </p:nvSpPr>
          <p:spPr>
            <a:xfrm>
              <a:off x="1688845" y="4446920"/>
              <a:ext cx="2617797" cy="5223970"/>
            </a:xfrm>
            <a:prstGeom prst="rect">
              <a:avLst/>
            </a:prstGeom>
            <a:ln>
              <a:solidFill>
                <a:schemeClr val="bg1">
                  <a:lumMod val="95000"/>
                </a:schemeClr>
              </a:solidFill>
            </a:ln>
          </p:spPr>
          <p:txBody>
            <a:bodyPr>
              <a:spAutoFit/>
            </a:bodyPr>
            <a:lstStyle>
              <a:defPPr>
                <a:defRPr lang="en-US"/>
              </a:defPPr>
              <a:lvl1pPr marL="171450" indent="-171450">
                <a:buFont typeface="Arial" panose="020B0604020202020204" pitchFamily="34" charset="0"/>
                <a:buChar char="•"/>
                <a:defRPr sz="1100">
                  <a:latin typeface="Helvetica" pitchFamily="2" charset="0"/>
                </a:defRPr>
              </a:lvl1pPr>
            </a:lstStyle>
            <a:p>
              <a:pPr marL="0" indent="0">
                <a:buNone/>
                <a:defRPr/>
              </a:pPr>
              <a:endParaRPr lang="en-US" sz="849" dirty="0"/>
            </a:p>
            <a:p>
              <a:pPr>
                <a:defRPr/>
              </a:pPr>
              <a:r>
                <a:rPr lang="en-ZA" sz="849" dirty="0"/>
                <a:t>Capture the costs associated with improvement projects from every site, in one source, for enhanced decision making at the executive level</a:t>
              </a:r>
            </a:p>
            <a:p>
              <a:pPr marL="0" indent="0">
                <a:buNone/>
                <a:defRPr/>
              </a:pPr>
              <a:endParaRPr lang="en-ZA" sz="849" dirty="0"/>
            </a:p>
            <a:p>
              <a:pPr>
                <a:defRPr/>
              </a:pPr>
              <a:r>
                <a:rPr lang="en-ZA" sz="849" dirty="0"/>
                <a:t>Provide self-service features via the Web, allowing stakeholders to check the status of projects, anytime and anywhere</a:t>
              </a:r>
            </a:p>
            <a:p>
              <a:pPr marL="0" indent="0">
                <a:buNone/>
                <a:defRPr/>
              </a:pPr>
              <a:endParaRPr lang="en-ZA" sz="849" dirty="0"/>
            </a:p>
            <a:p>
              <a:pPr>
                <a:defRPr/>
              </a:pPr>
              <a:r>
                <a:rPr lang="en-ZA" sz="849" dirty="0"/>
                <a:t>Offer standard program/project templates and time frames to ensure that all programs and projects follow the same approval procedures and are evaluated on comparable terms</a:t>
              </a:r>
            </a:p>
            <a:p>
              <a:pPr marL="0" indent="0">
                <a:buNone/>
                <a:defRPr/>
              </a:pPr>
              <a:endParaRPr lang="en-ZA" sz="849" dirty="0"/>
            </a:p>
            <a:p>
              <a:pPr>
                <a:defRPr/>
              </a:pPr>
              <a:r>
                <a:rPr lang="en-ZA" sz="849" dirty="0"/>
                <a:t>Define standard document templates accessible over the Web for items such as project justification, program summaries, and associated back-up documentation</a:t>
              </a:r>
            </a:p>
            <a:p>
              <a:pPr marL="0" indent="0">
                <a:buNone/>
                <a:defRPr/>
              </a:pPr>
              <a:endParaRPr lang="en-ZA" sz="849" dirty="0"/>
            </a:p>
            <a:p>
              <a:pPr>
                <a:defRPr/>
              </a:pPr>
              <a:r>
                <a:rPr lang="en-ZA" sz="849" dirty="0"/>
                <a:t>Integrate non-standard documents such as CAD drawings, multimedia files, and more in an easily accessible, Web-based repository</a:t>
              </a:r>
            </a:p>
            <a:p>
              <a:pPr marL="0" indent="0">
                <a:buNone/>
                <a:defRPr/>
              </a:pPr>
              <a:endParaRPr lang="en-ZA" sz="849" dirty="0"/>
            </a:p>
            <a:p>
              <a:pPr>
                <a:defRPr/>
              </a:pPr>
              <a:r>
                <a:rPr lang="en-ZA" sz="849" dirty="0"/>
                <a:t>Share information with ERP solutions such as SAGE, Oracle Financials® and SAP® as well as other Project Management solutions such as Primavera® and </a:t>
              </a:r>
              <a:r>
                <a:rPr lang="en-ZA" sz="849" dirty="0" err="1"/>
                <a:t>Prolog</a:t>
              </a:r>
              <a:r>
                <a:rPr lang="en-ZA" sz="849" dirty="0"/>
                <a:t>®</a:t>
              </a:r>
            </a:p>
            <a:p>
              <a:pPr>
                <a:defRPr/>
              </a:pPr>
              <a:endParaRPr lang="en-ZA" sz="849" dirty="0"/>
            </a:p>
            <a:p>
              <a:pPr>
                <a:defRPr/>
              </a:pPr>
              <a:endParaRPr lang="en-US" sz="849" dirty="0"/>
            </a:p>
            <a:p>
              <a:pPr>
                <a:defRPr/>
              </a:pPr>
              <a:endParaRPr lang="en-US" sz="849" dirty="0"/>
            </a:p>
          </p:txBody>
        </p:sp>
        <p:sp>
          <p:nvSpPr>
            <p:cNvPr id="20" name="TextBox 19">
              <a:extLst>
                <a:ext uri="{FF2B5EF4-FFF2-40B4-BE49-F238E27FC236}">
                  <a16:creationId xmlns:a16="http://schemas.microsoft.com/office/drawing/2014/main" id="{96073D8C-8253-9DEC-E93A-675236129034}"/>
                </a:ext>
              </a:extLst>
            </p:cNvPr>
            <p:cNvSpPr txBox="1"/>
            <p:nvPr/>
          </p:nvSpPr>
          <p:spPr>
            <a:xfrm>
              <a:off x="1563583" y="3948530"/>
              <a:ext cx="2617797" cy="467293"/>
            </a:xfrm>
            <a:prstGeom prst="rect">
              <a:avLst/>
            </a:prstGeom>
            <a:solidFill>
              <a:schemeClr val="accent5"/>
            </a:solidFill>
          </p:spPr>
          <p:txBody>
            <a:bodyPr>
              <a:spAutoFit/>
            </a:bodyPr>
            <a:lstStyle>
              <a:defPPr>
                <a:defRPr lang="en-US"/>
              </a:defPPr>
              <a:lvl1pPr>
                <a:defRPr sz="1200">
                  <a:solidFill>
                    <a:schemeClr val="accent6">
                      <a:lumMod val="50000"/>
                    </a:schemeClr>
                  </a:solidFill>
                  <a:latin typeface="Helvetica" pitchFamily="2" charset="0"/>
                </a:defRPr>
              </a:lvl1pPr>
            </a:lstStyle>
            <a:p>
              <a:pPr>
                <a:defRPr/>
              </a:pPr>
              <a:r>
                <a:rPr lang="en-US" sz="1132" dirty="0">
                  <a:solidFill>
                    <a:schemeClr val="bg1"/>
                  </a:solidFill>
                </a:rPr>
                <a:t>Manage Projects across Multiple Sites</a:t>
              </a:r>
            </a:p>
          </p:txBody>
        </p:sp>
      </p:grpSp>
      <p:grpSp>
        <p:nvGrpSpPr>
          <p:cNvPr id="46089" name="Group 12">
            <a:extLst>
              <a:ext uri="{FF2B5EF4-FFF2-40B4-BE49-F238E27FC236}">
                <a16:creationId xmlns:a16="http://schemas.microsoft.com/office/drawing/2014/main" id="{A3A1E19F-B4A6-B18D-3912-14299ACF1286}"/>
              </a:ext>
            </a:extLst>
          </p:cNvPr>
          <p:cNvGrpSpPr>
            <a:grpSpLocks/>
          </p:cNvGrpSpPr>
          <p:nvPr/>
        </p:nvGrpSpPr>
        <p:grpSpPr bwMode="auto">
          <a:xfrm>
            <a:off x="6275712" y="4604141"/>
            <a:ext cx="2427618" cy="2172038"/>
            <a:chOff x="4457968" y="2983716"/>
            <a:chExt cx="3067297" cy="2302143"/>
          </a:xfrm>
        </p:grpSpPr>
        <p:sp>
          <p:nvSpPr>
            <p:cNvPr id="3" name="Rectangle 2">
              <a:extLst>
                <a:ext uri="{FF2B5EF4-FFF2-40B4-BE49-F238E27FC236}">
                  <a16:creationId xmlns:a16="http://schemas.microsoft.com/office/drawing/2014/main" id="{CA0D0D72-5BC4-B7AD-C884-686DCE5E1EAB}"/>
                </a:ext>
              </a:extLst>
            </p:cNvPr>
            <p:cNvSpPr/>
            <p:nvPr/>
          </p:nvSpPr>
          <p:spPr>
            <a:xfrm>
              <a:off x="4457968" y="3342448"/>
              <a:ext cx="3067297" cy="1943411"/>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943" dirty="0">
                  <a:latin typeface="Helvetica" pitchFamily="2" charset="0"/>
                </a:rPr>
                <a:t>Compare multiple “what-if” scenarios to determine the optimal use of funds and help manage cash flow</a:t>
              </a:r>
            </a:p>
            <a:p>
              <a:pPr>
                <a:defRPr/>
              </a:pPr>
              <a:endParaRPr lang="en-ZA" sz="943" dirty="0">
                <a:latin typeface="Helvetica" pitchFamily="2" charset="0"/>
              </a:endParaRPr>
            </a:p>
            <a:p>
              <a:pPr marL="161746" indent="-161746">
                <a:buFont typeface="Arial" panose="020B0604020202020204" pitchFamily="34" charset="0"/>
                <a:buChar char="•"/>
                <a:defRPr/>
              </a:pPr>
              <a:r>
                <a:rPr lang="en-ZA" sz="943" dirty="0">
                  <a:latin typeface="Helvetica" pitchFamily="2" charset="0"/>
                </a:rPr>
                <a:t>Present top-level funding requirements and sources</a:t>
              </a:r>
            </a:p>
            <a:p>
              <a:pPr>
                <a:defRPr/>
              </a:pPr>
              <a:endParaRPr lang="en-ZA" sz="943" dirty="0">
                <a:latin typeface="Helvetica" pitchFamily="2" charset="0"/>
              </a:endParaRPr>
            </a:p>
            <a:p>
              <a:pPr marL="161746" indent="-161746">
                <a:buFont typeface="Arial" panose="020B0604020202020204" pitchFamily="34" charset="0"/>
                <a:buChar char="•"/>
                <a:defRPr/>
              </a:pPr>
              <a:r>
                <a:rPr lang="en-ZA" sz="943" dirty="0">
                  <a:latin typeface="Helvetica" pitchFamily="2" charset="0"/>
                </a:rPr>
                <a:t>Manage multi-year budgets based on estimated costs to show the impact of program and project additions/ deletions on strategic objectives</a:t>
              </a:r>
            </a:p>
            <a:p>
              <a:pPr marL="161746" indent="-161746">
                <a:buFont typeface="Arial" panose="020B0604020202020204" pitchFamily="34" charset="0"/>
                <a:buChar char="•"/>
                <a:defRPr/>
              </a:pPr>
              <a:endParaRPr lang="en-ZA" sz="943" dirty="0">
                <a:latin typeface="Helvetica" pitchFamily="2" charset="0"/>
              </a:endParaRPr>
            </a:p>
          </p:txBody>
        </p:sp>
        <p:sp>
          <p:nvSpPr>
            <p:cNvPr id="25" name="TextBox 24">
              <a:extLst>
                <a:ext uri="{FF2B5EF4-FFF2-40B4-BE49-F238E27FC236}">
                  <a16:creationId xmlns:a16="http://schemas.microsoft.com/office/drawing/2014/main" id="{34480C5A-DBE3-A27E-E82A-222ABB3DC515}"/>
                </a:ext>
              </a:extLst>
            </p:cNvPr>
            <p:cNvSpPr txBox="1"/>
            <p:nvPr/>
          </p:nvSpPr>
          <p:spPr>
            <a:xfrm>
              <a:off x="4471215" y="2983716"/>
              <a:ext cx="3054050" cy="282514"/>
            </a:xfrm>
            <a:prstGeom prst="rect">
              <a:avLst/>
            </a:prstGeom>
            <a:solidFill>
              <a:schemeClr val="accent5"/>
            </a:solidFill>
          </p:spPr>
          <p:txBody>
            <a:bodyPr>
              <a:spAutoFit/>
            </a:bodyPr>
            <a:lstStyle>
              <a:defPPr>
                <a:defRPr lang="en-US"/>
              </a:defPPr>
              <a:lvl1pPr>
                <a:defRPr sz="1200">
                  <a:solidFill>
                    <a:schemeClr val="accent6">
                      <a:lumMod val="50000"/>
                    </a:schemeClr>
                  </a:solidFill>
                  <a:latin typeface="Helvetica" pitchFamily="2" charset="0"/>
                </a:defRPr>
              </a:lvl1pPr>
            </a:lstStyle>
            <a:p>
              <a:pPr>
                <a:defRPr/>
              </a:pPr>
              <a:r>
                <a:rPr lang="en-US" sz="1132" dirty="0">
                  <a:solidFill>
                    <a:schemeClr val="bg1"/>
                  </a:solidFill>
                </a:rPr>
                <a:t>Enable “What-if” Planning</a:t>
              </a:r>
            </a:p>
          </p:txBody>
        </p:sp>
      </p:grpSp>
      <p:grpSp>
        <p:nvGrpSpPr>
          <p:cNvPr id="46090" name="Group 10">
            <a:extLst>
              <a:ext uri="{FF2B5EF4-FFF2-40B4-BE49-F238E27FC236}">
                <a16:creationId xmlns:a16="http://schemas.microsoft.com/office/drawing/2014/main" id="{53506259-FB10-DD58-E31D-224C53564676}"/>
              </a:ext>
            </a:extLst>
          </p:cNvPr>
          <p:cNvGrpSpPr>
            <a:grpSpLocks/>
          </p:cNvGrpSpPr>
          <p:nvPr/>
        </p:nvGrpSpPr>
        <p:grpSpPr bwMode="auto">
          <a:xfrm>
            <a:off x="6246077" y="2326629"/>
            <a:ext cx="2457249" cy="2241560"/>
            <a:chOff x="6746186" y="5757859"/>
            <a:chExt cx="2966226" cy="2376213"/>
          </a:xfrm>
        </p:grpSpPr>
        <p:sp>
          <p:nvSpPr>
            <p:cNvPr id="21" name="TextBox 20">
              <a:extLst>
                <a:ext uri="{FF2B5EF4-FFF2-40B4-BE49-F238E27FC236}">
                  <a16:creationId xmlns:a16="http://schemas.microsoft.com/office/drawing/2014/main" id="{DF705766-8FBB-D4B9-10F4-94E780A7F5A7}"/>
                </a:ext>
              </a:extLst>
            </p:cNvPr>
            <p:cNvSpPr txBox="1"/>
            <p:nvPr/>
          </p:nvSpPr>
          <p:spPr>
            <a:xfrm>
              <a:off x="6746186" y="5757859"/>
              <a:ext cx="2930456" cy="282560"/>
            </a:xfrm>
            <a:prstGeom prst="rect">
              <a:avLst/>
            </a:prstGeom>
            <a:solidFill>
              <a:schemeClr val="accent5"/>
            </a:solidFill>
          </p:spPr>
          <p:txBody>
            <a:bodyPr>
              <a:spAutoFit/>
            </a:bodyPr>
            <a:lstStyle>
              <a:defPPr>
                <a:defRPr lang="en-US"/>
              </a:defPPr>
              <a:lvl1pPr>
                <a:defRPr sz="1200">
                  <a:solidFill>
                    <a:schemeClr val="accent6">
                      <a:lumMod val="50000"/>
                    </a:schemeClr>
                  </a:solidFill>
                  <a:latin typeface="Helvetica" pitchFamily="2" charset="0"/>
                </a:defRPr>
              </a:lvl1pPr>
            </a:lstStyle>
            <a:p>
              <a:pPr>
                <a:defRPr/>
              </a:pPr>
              <a:r>
                <a:rPr lang="en-US" sz="1132" dirty="0">
                  <a:solidFill>
                    <a:schemeClr val="bg1"/>
                  </a:solidFill>
                </a:rPr>
                <a:t>Integrate End-to-End Planning</a:t>
              </a:r>
            </a:p>
          </p:txBody>
        </p:sp>
        <p:sp>
          <p:nvSpPr>
            <p:cNvPr id="9" name="Rectangle 8">
              <a:extLst>
                <a:ext uri="{FF2B5EF4-FFF2-40B4-BE49-F238E27FC236}">
                  <a16:creationId xmlns:a16="http://schemas.microsoft.com/office/drawing/2014/main" id="{52B5186F-7B79-CE66-5DF2-649676AC60D4}"/>
                </a:ext>
              </a:extLst>
            </p:cNvPr>
            <p:cNvSpPr/>
            <p:nvPr/>
          </p:nvSpPr>
          <p:spPr>
            <a:xfrm>
              <a:off x="6781957" y="6096818"/>
              <a:ext cx="2930455" cy="2037254"/>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849" dirty="0">
                  <a:latin typeface="Helvetica" pitchFamily="2" charset="0"/>
                </a:rPr>
                <a:t>Leverage existing ARCHIBUS data by accessing cost estimates and depreciation information, to justify capital project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Capture data in the field using mobile and/or tablet devices to populate the capital budgeting baseline</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Compare actual condition assessments with budget to keep abreast of progres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Track the condition assessment items that have been addressed by capital projects to update the Facility Condition Index</a:t>
              </a:r>
            </a:p>
          </p:txBody>
        </p:sp>
      </p:grpSp>
      <p:sp>
        <p:nvSpPr>
          <p:cNvPr id="30" name="Rectangle 29">
            <a:extLst>
              <a:ext uri="{FF2B5EF4-FFF2-40B4-BE49-F238E27FC236}">
                <a16:creationId xmlns:a16="http://schemas.microsoft.com/office/drawing/2014/main" id="{431812AD-0083-642C-FB69-15B3898833B9}"/>
              </a:ext>
            </a:extLst>
          </p:cNvPr>
          <p:cNvSpPr/>
          <p:nvPr/>
        </p:nvSpPr>
        <p:spPr>
          <a:xfrm>
            <a:off x="1387532" y="364901"/>
            <a:ext cx="7063294" cy="614912"/>
          </a:xfrm>
          <a:prstGeom prst="rect">
            <a:avLst/>
          </a:prstGeom>
        </p:spPr>
        <p:txBody>
          <a:bodyPr wrap="square">
            <a:spAutoFit/>
          </a:bodyPr>
          <a:lstStyle/>
          <a:p>
            <a:pPr>
              <a:defRPr/>
            </a:pPr>
            <a:r>
              <a:rPr lang="en-ZA" sz="3396" dirty="0">
                <a:solidFill>
                  <a:schemeClr val="bg1"/>
                </a:solidFill>
              </a:rPr>
              <a:t>Infrastructure</a:t>
            </a:r>
            <a:r>
              <a:rPr lang="en-ZA" sz="2400" b="1" dirty="0"/>
              <a:t> </a:t>
            </a:r>
            <a:r>
              <a:rPr lang="en-ZA" sz="3396" dirty="0">
                <a:solidFill>
                  <a:schemeClr val="bg1"/>
                </a:solidFill>
              </a:rPr>
              <a:t>Budgeting</a:t>
            </a:r>
          </a:p>
        </p:txBody>
      </p:sp>
    </p:spTree>
    <p:extLst>
      <p:ext uri="{BB962C8B-B14F-4D97-AF65-F5344CB8AC3E}">
        <p14:creationId xmlns:p14="http://schemas.microsoft.com/office/powerpoint/2010/main" val="96443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Arrow Connector 4">
            <a:extLst>
              <a:ext uri="{FF2B5EF4-FFF2-40B4-BE49-F238E27FC236}">
                <a16:creationId xmlns:a16="http://schemas.microsoft.com/office/drawing/2014/main" id="{6D68FB9F-9F68-EC12-0C23-D145C5097413}"/>
              </a:ext>
            </a:extLst>
          </p:cNvPr>
          <p:cNvCxnSpPr>
            <a:cxnSpLocks/>
          </p:cNvCxnSpPr>
          <p:nvPr/>
        </p:nvCxnSpPr>
        <p:spPr>
          <a:xfrm flipV="1">
            <a:off x="665685" y="767758"/>
            <a:ext cx="0" cy="56744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70DEBA9-579E-801F-B85E-FC6DCA501F0C}"/>
              </a:ext>
            </a:extLst>
          </p:cNvPr>
          <p:cNvCxnSpPr>
            <a:cxnSpLocks/>
          </p:cNvCxnSpPr>
          <p:nvPr/>
        </p:nvCxnSpPr>
        <p:spPr>
          <a:xfrm>
            <a:off x="665685" y="6442181"/>
            <a:ext cx="817842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F1C80BB-E7D3-10CF-D2B7-527F0964D8A3}"/>
              </a:ext>
            </a:extLst>
          </p:cNvPr>
          <p:cNvSpPr/>
          <p:nvPr/>
        </p:nvSpPr>
        <p:spPr>
          <a:xfrm>
            <a:off x="608111" y="1389597"/>
            <a:ext cx="9621813" cy="307777"/>
          </a:xfrm>
          <a:prstGeom prst="rect">
            <a:avLst/>
          </a:prstGeom>
        </p:spPr>
        <p:txBody>
          <a:bodyPr wrap="square">
            <a:spAutoFit/>
          </a:bodyPr>
          <a:lstStyle/>
          <a:p>
            <a:pPr>
              <a:defRPr/>
            </a:pPr>
            <a:r>
              <a:rPr lang="en-ZA" sz="1400" b="1" i="1" dirty="0">
                <a:solidFill>
                  <a:schemeClr val="accent6">
                    <a:lumMod val="50000"/>
                  </a:schemeClr>
                </a:solidFill>
              </a:rPr>
              <a:t>Manage projects, from an owner’s perspective, so they remain on-schedule and within budget</a:t>
            </a:r>
          </a:p>
        </p:txBody>
      </p:sp>
      <p:sp>
        <p:nvSpPr>
          <p:cNvPr id="3" name="Rectangle 2">
            <a:extLst>
              <a:ext uri="{FF2B5EF4-FFF2-40B4-BE49-F238E27FC236}">
                <a16:creationId xmlns:a16="http://schemas.microsoft.com/office/drawing/2014/main" id="{8392CEAD-FBE0-4DE2-EB3A-4CE812C71B71}"/>
              </a:ext>
            </a:extLst>
          </p:cNvPr>
          <p:cNvSpPr/>
          <p:nvPr/>
        </p:nvSpPr>
        <p:spPr>
          <a:xfrm>
            <a:off x="9404106" y="2049424"/>
            <a:ext cx="1928915" cy="4514184"/>
          </a:xfrm>
          <a:prstGeom prst="rect">
            <a:avLst/>
          </a:prstGeom>
          <a:ln>
            <a:solidFill>
              <a:schemeClr val="accent1"/>
            </a:solidFill>
            <a:prstDash val="dash"/>
          </a:ln>
        </p:spPr>
        <p:txBody>
          <a:bodyPr>
            <a:spAutoFit/>
          </a:bodyPr>
          <a:lstStyle/>
          <a:p>
            <a:pPr marL="161746" indent="-161746">
              <a:buFont typeface="Arial" panose="020B0604020202020204" pitchFamily="34" charset="0"/>
              <a:buChar char="•"/>
              <a:defRPr/>
            </a:pPr>
            <a:r>
              <a:rPr lang="en-ZA" sz="991" dirty="0">
                <a:latin typeface="Helvetica" pitchFamily="2" charset="0"/>
              </a:rPr>
              <a:t>Create a central repository for a “Top-Down” perspective of program and project priorities, actions, and costs</a:t>
            </a:r>
          </a:p>
          <a:p>
            <a:pPr>
              <a:defRPr/>
            </a:pPr>
            <a:endParaRPr lang="en-ZA" sz="991" dirty="0">
              <a:latin typeface="Helvetica" pitchFamily="2" charset="0"/>
            </a:endParaRPr>
          </a:p>
          <a:p>
            <a:pPr marL="161746" indent="-161746">
              <a:buFont typeface="Arial" panose="020B0604020202020204" pitchFamily="34" charset="0"/>
              <a:buChar char="•"/>
              <a:defRPr/>
            </a:pPr>
            <a:r>
              <a:rPr lang="en-ZA" sz="991" dirty="0">
                <a:latin typeface="Helvetica" pitchFamily="2" charset="0"/>
              </a:rPr>
              <a:t>Facilitate a collaborative process to allow project members to synchronize information at different locations or organizational units</a:t>
            </a:r>
          </a:p>
          <a:p>
            <a:pPr>
              <a:defRPr/>
            </a:pPr>
            <a:endParaRPr lang="en-ZA" sz="991" dirty="0">
              <a:latin typeface="Helvetica" pitchFamily="2" charset="0"/>
            </a:endParaRPr>
          </a:p>
          <a:p>
            <a:pPr marL="161746" indent="-161746">
              <a:buFont typeface="Arial" panose="020B0604020202020204" pitchFamily="34" charset="0"/>
              <a:buChar char="•"/>
              <a:defRPr/>
            </a:pPr>
            <a:r>
              <a:rPr lang="en-ZA" sz="991" dirty="0">
                <a:latin typeface="Helvetica" pitchFamily="2" charset="0"/>
              </a:rPr>
              <a:t>Provide clear, weighted performance scorecard views of multiple programs and/or projects to identify late or over-budget components at a glance</a:t>
            </a:r>
          </a:p>
          <a:p>
            <a:pPr>
              <a:defRPr/>
            </a:pPr>
            <a:endParaRPr lang="en-ZA" sz="991" dirty="0">
              <a:latin typeface="Helvetica" pitchFamily="2" charset="0"/>
            </a:endParaRPr>
          </a:p>
          <a:p>
            <a:pPr marL="161746" indent="-161746">
              <a:buFont typeface="Arial" panose="020B0604020202020204" pitchFamily="34" charset="0"/>
              <a:buChar char="•"/>
              <a:defRPr/>
            </a:pPr>
            <a:r>
              <a:rPr lang="en-ZA" sz="991" dirty="0">
                <a:latin typeface="Helvetica" pitchFamily="2" charset="0"/>
              </a:rPr>
              <a:t>Streamline project oversight via consolidated views displaying milestones, tasks, and status changes to all project members</a:t>
            </a:r>
          </a:p>
          <a:p>
            <a:pPr>
              <a:defRPr/>
            </a:pPr>
            <a:endParaRPr lang="en-ZA" sz="991" dirty="0">
              <a:latin typeface="Helvetica" pitchFamily="2" charset="0"/>
            </a:endParaRPr>
          </a:p>
          <a:p>
            <a:pPr marL="161746" indent="-161746">
              <a:buFont typeface="Arial" panose="020B0604020202020204" pitchFamily="34" charset="0"/>
              <a:buChar char="•"/>
              <a:defRPr/>
            </a:pPr>
            <a:r>
              <a:rPr lang="en-ZA" sz="991" dirty="0">
                <a:latin typeface="Helvetica" pitchFamily="2" charset="0"/>
              </a:rPr>
              <a:t>Reduce administrative burden by </a:t>
            </a:r>
            <a:r>
              <a:rPr lang="en-ZA" sz="991" dirty="0" smtClean="0">
                <a:latin typeface="Helvetica" pitchFamily="2" charset="0"/>
              </a:rPr>
              <a:t>leveraging </a:t>
            </a:r>
            <a:r>
              <a:rPr lang="en-ZA" sz="991" dirty="0">
                <a:latin typeface="Helvetica" pitchFamily="2" charset="0"/>
              </a:rPr>
              <a:t>existing data</a:t>
            </a:r>
          </a:p>
        </p:txBody>
      </p:sp>
      <p:grpSp>
        <p:nvGrpSpPr>
          <p:cNvPr id="47110" name="Group 28">
            <a:extLst>
              <a:ext uri="{FF2B5EF4-FFF2-40B4-BE49-F238E27FC236}">
                <a16:creationId xmlns:a16="http://schemas.microsoft.com/office/drawing/2014/main" id="{E99BDF64-F5D6-FB87-D417-3C57D47AD6FD}"/>
              </a:ext>
            </a:extLst>
          </p:cNvPr>
          <p:cNvGrpSpPr>
            <a:grpSpLocks/>
          </p:cNvGrpSpPr>
          <p:nvPr/>
        </p:nvGrpSpPr>
        <p:grpSpPr bwMode="auto">
          <a:xfrm>
            <a:off x="608111" y="4706619"/>
            <a:ext cx="2616316" cy="1180903"/>
            <a:chOff x="890409" y="4610030"/>
            <a:chExt cx="2774673" cy="1871861"/>
          </a:xfrm>
        </p:grpSpPr>
        <p:sp>
          <p:nvSpPr>
            <p:cNvPr id="6" name="Rectangle 5">
              <a:extLst>
                <a:ext uri="{FF2B5EF4-FFF2-40B4-BE49-F238E27FC236}">
                  <a16:creationId xmlns:a16="http://schemas.microsoft.com/office/drawing/2014/main" id="{F891306C-1C68-73BD-2789-7A58109B27B8}"/>
                </a:ext>
              </a:extLst>
            </p:cNvPr>
            <p:cNvSpPr/>
            <p:nvPr/>
          </p:nvSpPr>
          <p:spPr>
            <a:xfrm>
              <a:off x="890409" y="4905430"/>
              <a:ext cx="2763555" cy="1576461"/>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755" dirty="0">
                  <a:latin typeface="Helvetica" pitchFamily="2" charset="0"/>
                </a:rPr>
                <a:t>Manage time-based tasks using project calendars and Gantt charts</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Coordinate location-based tasks using the Projects Map</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Notify task assignees automatically using intelligent workflow processes</a:t>
              </a:r>
            </a:p>
            <a:p>
              <a:pPr marL="161746" indent="-161746">
                <a:buFont typeface="Arial" panose="020B0604020202020204" pitchFamily="34" charset="0"/>
                <a:buChar cha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Exchange data seamlessly with Microsoft Project®, delivering information in familiar formats to project managers, financial managers, and executives</a:t>
              </a:r>
            </a:p>
          </p:txBody>
        </p:sp>
        <p:sp>
          <p:nvSpPr>
            <p:cNvPr id="7" name="Rectangle 6">
              <a:extLst>
                <a:ext uri="{FF2B5EF4-FFF2-40B4-BE49-F238E27FC236}">
                  <a16:creationId xmlns:a16="http://schemas.microsoft.com/office/drawing/2014/main" id="{E912D3D7-266E-996F-5CAD-A2DB606D666D}"/>
                </a:ext>
              </a:extLst>
            </p:cNvPr>
            <p:cNvSpPr/>
            <p:nvPr/>
          </p:nvSpPr>
          <p:spPr>
            <a:xfrm>
              <a:off x="890409" y="4610030"/>
              <a:ext cx="2774673" cy="251796"/>
            </a:xfrm>
            <a:prstGeom prst="rect">
              <a:avLst/>
            </a:prstGeom>
            <a:solidFill>
              <a:schemeClr val="accent5"/>
            </a:solidFill>
          </p:spPr>
          <p:txBody>
            <a:bodyPr>
              <a:spAutoFit/>
            </a:bodyPr>
            <a:lstStyle/>
            <a:p>
              <a:pPr>
                <a:defRPr/>
              </a:pPr>
              <a:r>
                <a:rPr lang="en-ZA" sz="943" dirty="0">
                  <a:solidFill>
                    <a:schemeClr val="bg1"/>
                  </a:solidFill>
                  <a:latin typeface="Helvetica" pitchFamily="2" charset="0"/>
                </a:rPr>
                <a:t> Synchronize Project Team Members</a:t>
              </a:r>
            </a:p>
          </p:txBody>
        </p:sp>
      </p:grpSp>
      <p:sp>
        <p:nvSpPr>
          <p:cNvPr id="8" name="Rectangle 7">
            <a:extLst>
              <a:ext uri="{FF2B5EF4-FFF2-40B4-BE49-F238E27FC236}">
                <a16:creationId xmlns:a16="http://schemas.microsoft.com/office/drawing/2014/main" id="{31E0C78D-2833-1965-C1A9-8106EBED2929}"/>
              </a:ext>
            </a:extLst>
          </p:cNvPr>
          <p:cNvSpPr/>
          <p:nvPr/>
        </p:nvSpPr>
        <p:spPr>
          <a:xfrm>
            <a:off x="6690145" y="2387141"/>
            <a:ext cx="1966355" cy="244811"/>
          </a:xfrm>
          <a:prstGeom prst="rect">
            <a:avLst/>
          </a:prstGeom>
          <a:solidFill>
            <a:schemeClr val="accent5"/>
          </a:solidFill>
        </p:spPr>
        <p:txBody>
          <a:bodyPr>
            <a:spAutoFit/>
          </a:bodyPr>
          <a:lstStyle/>
          <a:p>
            <a:pPr>
              <a:defRPr/>
            </a:pPr>
            <a:r>
              <a:rPr lang="en-ZA" sz="991" dirty="0">
                <a:solidFill>
                  <a:schemeClr val="bg1"/>
                </a:solidFill>
                <a:latin typeface="Helvetica" pitchFamily="2" charset="0"/>
              </a:rPr>
              <a:t> Benchmark Performance</a:t>
            </a:r>
          </a:p>
        </p:txBody>
      </p:sp>
      <p:grpSp>
        <p:nvGrpSpPr>
          <p:cNvPr id="47112" name="Group 25">
            <a:extLst>
              <a:ext uri="{FF2B5EF4-FFF2-40B4-BE49-F238E27FC236}">
                <a16:creationId xmlns:a16="http://schemas.microsoft.com/office/drawing/2014/main" id="{181239B0-4FC1-45D9-8325-D8FB876CB49B}"/>
              </a:ext>
            </a:extLst>
          </p:cNvPr>
          <p:cNvGrpSpPr>
            <a:grpSpLocks/>
          </p:cNvGrpSpPr>
          <p:nvPr/>
        </p:nvGrpSpPr>
        <p:grpSpPr bwMode="auto">
          <a:xfrm>
            <a:off x="836645" y="1774440"/>
            <a:ext cx="2614220" cy="1375441"/>
            <a:chOff x="3904413" y="5343731"/>
            <a:chExt cx="2772238" cy="1457483"/>
          </a:xfrm>
        </p:grpSpPr>
        <p:sp>
          <p:nvSpPr>
            <p:cNvPr id="11" name="Rectangle 10">
              <a:extLst>
                <a:ext uri="{FF2B5EF4-FFF2-40B4-BE49-F238E27FC236}">
                  <a16:creationId xmlns:a16="http://schemas.microsoft.com/office/drawing/2014/main" id="{A17340CF-11BE-3BEA-0956-17DAE28F3BEF}"/>
                </a:ext>
              </a:extLst>
            </p:cNvPr>
            <p:cNvSpPr/>
            <p:nvPr/>
          </p:nvSpPr>
          <p:spPr>
            <a:xfrm>
              <a:off x="3904413" y="5595330"/>
              <a:ext cx="2734757" cy="1205884"/>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755" dirty="0">
                  <a:latin typeface="Helvetica" pitchFamily="2" charset="0"/>
                </a:rPr>
                <a:t>Reduce duplicate data entry by integrating existing ARCHIBUS data such as property details, condition assessments, maintenance data, and more</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Encourage a self-service posture and reduce overhead with real-time, Web-accessible data</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Promote consistent documentation by posting templates, examples, and policies</a:t>
              </a:r>
            </a:p>
          </p:txBody>
        </p:sp>
        <p:sp>
          <p:nvSpPr>
            <p:cNvPr id="13" name="Rectangle 12">
              <a:extLst>
                <a:ext uri="{FF2B5EF4-FFF2-40B4-BE49-F238E27FC236}">
                  <a16:creationId xmlns:a16="http://schemas.microsoft.com/office/drawing/2014/main" id="{D756CF79-CB93-AC0D-0C7D-B1EC982C6F04}"/>
                </a:ext>
              </a:extLst>
            </p:cNvPr>
            <p:cNvSpPr/>
            <p:nvPr/>
          </p:nvSpPr>
          <p:spPr>
            <a:xfrm>
              <a:off x="3919660" y="5343731"/>
              <a:ext cx="2756991" cy="251600"/>
            </a:xfrm>
            <a:prstGeom prst="rect">
              <a:avLst/>
            </a:prstGeom>
            <a:solidFill>
              <a:schemeClr val="accent5"/>
            </a:solidFill>
          </p:spPr>
          <p:txBody>
            <a:bodyPr>
              <a:spAutoFit/>
            </a:bodyPr>
            <a:lstStyle/>
            <a:p>
              <a:pPr>
                <a:defRPr/>
              </a:pPr>
              <a:r>
                <a:rPr lang="en-ZA" sz="943" dirty="0">
                  <a:solidFill>
                    <a:schemeClr val="bg1"/>
                  </a:solidFill>
                  <a:latin typeface="Helvetica" pitchFamily="2" charset="0"/>
                </a:rPr>
                <a:t> Reduce the Administrative Burden</a:t>
              </a:r>
            </a:p>
          </p:txBody>
        </p:sp>
      </p:grpSp>
      <p:grpSp>
        <p:nvGrpSpPr>
          <p:cNvPr id="47113" name="Group 26">
            <a:extLst>
              <a:ext uri="{FF2B5EF4-FFF2-40B4-BE49-F238E27FC236}">
                <a16:creationId xmlns:a16="http://schemas.microsoft.com/office/drawing/2014/main" id="{B1971737-3E6E-5098-7ECF-5365091698BF}"/>
              </a:ext>
            </a:extLst>
          </p:cNvPr>
          <p:cNvGrpSpPr>
            <a:grpSpLocks/>
          </p:cNvGrpSpPr>
          <p:nvPr/>
        </p:nvGrpSpPr>
        <p:grpSpPr bwMode="auto">
          <a:xfrm>
            <a:off x="676130" y="3191562"/>
            <a:ext cx="2663137" cy="1529120"/>
            <a:chOff x="3812230" y="3694604"/>
            <a:chExt cx="2368416" cy="1621321"/>
          </a:xfrm>
        </p:grpSpPr>
        <p:sp>
          <p:nvSpPr>
            <p:cNvPr id="9" name="Rectangle 8">
              <a:extLst>
                <a:ext uri="{FF2B5EF4-FFF2-40B4-BE49-F238E27FC236}">
                  <a16:creationId xmlns:a16="http://schemas.microsoft.com/office/drawing/2014/main" id="{F144A4DE-7E9F-B919-D29F-CE40D017CFD2}"/>
                </a:ext>
              </a:extLst>
            </p:cNvPr>
            <p:cNvSpPr/>
            <p:nvPr/>
          </p:nvSpPr>
          <p:spPr>
            <a:xfrm>
              <a:off x="3812230" y="3986113"/>
              <a:ext cx="2270838" cy="1329812"/>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755" dirty="0">
                  <a:latin typeface="Helvetica" pitchFamily="2" charset="0"/>
                </a:rPr>
                <a:t>Create work packages for Web-based contract bids</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Route projects for approval and estimate, manage, and approve change orders</a:t>
              </a:r>
            </a:p>
            <a:p>
              <a:pP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Enforce organization-wide standards to ensure project objectives are met</a:t>
              </a:r>
            </a:p>
            <a:p>
              <a:pPr marL="161746" indent="-161746">
                <a:buFont typeface="Arial" panose="020B0604020202020204" pitchFamily="34" charset="0"/>
                <a:buChar char="•"/>
                <a:defRPr/>
              </a:pPr>
              <a:endParaRPr lang="en-ZA" sz="755" dirty="0">
                <a:latin typeface="Helvetica" pitchFamily="2" charset="0"/>
              </a:endParaRPr>
            </a:p>
            <a:p>
              <a:pPr marL="161746" indent="-161746">
                <a:buFont typeface="Arial" panose="020B0604020202020204" pitchFamily="34" charset="0"/>
                <a:buChar char="•"/>
                <a:defRPr/>
              </a:pPr>
              <a:r>
                <a:rPr lang="en-ZA" sz="755" dirty="0">
                  <a:latin typeface="Helvetica" pitchFamily="2" charset="0"/>
                </a:rPr>
                <a:t>Maintain accountability through electronic audit trails to track all project changes</a:t>
              </a:r>
            </a:p>
          </p:txBody>
        </p:sp>
        <p:sp>
          <p:nvSpPr>
            <p:cNvPr id="15" name="Rectangle 14">
              <a:extLst>
                <a:ext uri="{FF2B5EF4-FFF2-40B4-BE49-F238E27FC236}">
                  <a16:creationId xmlns:a16="http://schemas.microsoft.com/office/drawing/2014/main" id="{4463EE33-272B-F694-F7E4-BEEA5267268E}"/>
                </a:ext>
              </a:extLst>
            </p:cNvPr>
            <p:cNvSpPr/>
            <p:nvPr/>
          </p:nvSpPr>
          <p:spPr>
            <a:xfrm>
              <a:off x="3909808" y="3694604"/>
              <a:ext cx="2270838" cy="251754"/>
            </a:xfrm>
            <a:prstGeom prst="rect">
              <a:avLst/>
            </a:prstGeom>
            <a:solidFill>
              <a:schemeClr val="accent5"/>
            </a:solidFill>
          </p:spPr>
          <p:txBody>
            <a:bodyPr>
              <a:spAutoFit/>
            </a:bodyPr>
            <a:lstStyle/>
            <a:p>
              <a:pPr>
                <a:defRPr/>
              </a:pPr>
              <a:r>
                <a:rPr lang="en-ZA" sz="943" dirty="0">
                  <a:solidFill>
                    <a:schemeClr val="bg1"/>
                  </a:solidFill>
                  <a:latin typeface="Helvetica" pitchFamily="2" charset="0"/>
                </a:rPr>
                <a:t>Streamline Project Oversight</a:t>
              </a:r>
            </a:p>
          </p:txBody>
        </p:sp>
      </p:grpSp>
      <p:grpSp>
        <p:nvGrpSpPr>
          <p:cNvPr id="47114" name="Group 27">
            <a:extLst>
              <a:ext uri="{FF2B5EF4-FFF2-40B4-BE49-F238E27FC236}">
                <a16:creationId xmlns:a16="http://schemas.microsoft.com/office/drawing/2014/main" id="{CDF6FD7E-654F-C857-F71D-92CC38C233A2}"/>
              </a:ext>
            </a:extLst>
          </p:cNvPr>
          <p:cNvGrpSpPr>
            <a:grpSpLocks/>
          </p:cNvGrpSpPr>
          <p:nvPr/>
        </p:nvGrpSpPr>
        <p:grpSpPr bwMode="auto">
          <a:xfrm>
            <a:off x="3946580" y="2271215"/>
            <a:ext cx="2240417" cy="2390558"/>
            <a:chOff x="778336" y="3232682"/>
            <a:chExt cx="3338159" cy="883107"/>
          </a:xfrm>
        </p:grpSpPr>
        <p:sp>
          <p:nvSpPr>
            <p:cNvPr id="4" name="Rectangle 3">
              <a:extLst>
                <a:ext uri="{FF2B5EF4-FFF2-40B4-BE49-F238E27FC236}">
                  <a16:creationId xmlns:a16="http://schemas.microsoft.com/office/drawing/2014/main" id="{1DA39F42-1618-FFE1-C202-56658316E526}"/>
                </a:ext>
              </a:extLst>
            </p:cNvPr>
            <p:cNvSpPr/>
            <p:nvPr/>
          </p:nvSpPr>
          <p:spPr>
            <a:xfrm>
              <a:off x="778336" y="3405845"/>
              <a:ext cx="3338159" cy="709944"/>
            </a:xfrm>
            <a:prstGeom prst="rect">
              <a:avLst/>
            </a:prstGeom>
            <a:ln>
              <a:solidFill>
                <a:schemeClr val="bg1">
                  <a:lumMod val="95000"/>
                </a:schemeClr>
              </a:solidFill>
            </a:ln>
          </p:spPr>
          <p:txBody>
            <a:bodyPr>
              <a:spAutoFit/>
            </a:bodyPr>
            <a:lstStyle/>
            <a:p>
              <a:pPr marL="161746" indent="-161746">
                <a:buFont typeface="Arial" panose="020B0604020202020204" pitchFamily="34" charset="0"/>
                <a:buChar char="•"/>
                <a:defRPr/>
              </a:pPr>
              <a:r>
                <a:rPr lang="en-ZA" sz="849" dirty="0">
                  <a:latin typeface="Helvetica" pitchFamily="2" charset="0"/>
                </a:rPr>
                <a:t>Define, estimate, and prioritize projects in a centralized location using a consistent format</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Present project opportunities and risks based on the organization’s capital plan and overall mission</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Determine cost estimates and track trends</a:t>
              </a:r>
            </a:p>
            <a:p>
              <a:pPr>
                <a:defRPr/>
              </a:pPr>
              <a:endParaRPr lang="en-ZA" sz="849" dirty="0">
                <a:latin typeface="Helvetica" pitchFamily="2" charset="0"/>
              </a:endParaRPr>
            </a:p>
            <a:p>
              <a:pPr marL="161746" indent="-161746">
                <a:buFont typeface="Arial" panose="020B0604020202020204" pitchFamily="34" charset="0"/>
                <a:buChar char="•"/>
                <a:defRPr/>
              </a:pPr>
              <a:r>
                <a:rPr lang="en-ZA" sz="849" dirty="0">
                  <a:latin typeface="Helvetica" pitchFamily="2" charset="0"/>
                </a:rPr>
                <a:t>Connect projects directly to the capital budget cycle to compare actual versus estimated costs</a:t>
              </a:r>
            </a:p>
          </p:txBody>
        </p:sp>
        <p:sp>
          <p:nvSpPr>
            <p:cNvPr id="16" name="Rectangle 15">
              <a:extLst>
                <a:ext uri="{FF2B5EF4-FFF2-40B4-BE49-F238E27FC236}">
                  <a16:creationId xmlns:a16="http://schemas.microsoft.com/office/drawing/2014/main" id="{052EFD7C-0909-5A1E-2AD6-FD4FD13DC181}"/>
                </a:ext>
              </a:extLst>
            </p:cNvPr>
            <p:cNvSpPr/>
            <p:nvPr/>
          </p:nvSpPr>
          <p:spPr>
            <a:xfrm>
              <a:off x="778336" y="3232682"/>
              <a:ext cx="3338159" cy="146764"/>
            </a:xfrm>
            <a:prstGeom prst="rect">
              <a:avLst/>
            </a:prstGeom>
            <a:solidFill>
              <a:schemeClr val="accent5"/>
            </a:solidFill>
          </p:spPr>
          <p:txBody>
            <a:bodyPr>
              <a:spAutoFit/>
            </a:bodyPr>
            <a:lstStyle/>
            <a:p>
              <a:pPr>
                <a:defRPr/>
              </a:pPr>
              <a:r>
                <a:rPr lang="en-ZA" sz="991" dirty="0">
                  <a:solidFill>
                    <a:schemeClr val="bg1"/>
                  </a:solidFill>
                  <a:latin typeface="Helvetica" pitchFamily="2" charset="0"/>
                </a:rPr>
                <a:t>Provide Centralized, “Top-down” Perspective</a:t>
              </a:r>
            </a:p>
          </p:txBody>
        </p:sp>
      </p:grpSp>
      <p:sp>
        <p:nvSpPr>
          <p:cNvPr id="30" name="Rectangle 29">
            <a:extLst>
              <a:ext uri="{FF2B5EF4-FFF2-40B4-BE49-F238E27FC236}">
                <a16:creationId xmlns:a16="http://schemas.microsoft.com/office/drawing/2014/main" id="{56FCFEA4-8872-9C76-6CFD-DB8A56A9ED0D}"/>
              </a:ext>
            </a:extLst>
          </p:cNvPr>
          <p:cNvSpPr/>
          <p:nvPr/>
        </p:nvSpPr>
        <p:spPr>
          <a:xfrm>
            <a:off x="9350946" y="1608662"/>
            <a:ext cx="1928915" cy="440762"/>
          </a:xfrm>
          <a:prstGeom prst="rect">
            <a:avLst/>
          </a:prstGeom>
          <a:solidFill>
            <a:schemeClr val="accent3">
              <a:lumMod val="20000"/>
              <a:lumOff val="80000"/>
            </a:schemeClr>
          </a:solidFill>
        </p:spPr>
        <p:txBody>
          <a:bodyPr>
            <a:spAutoFit/>
          </a:bodyPr>
          <a:lstStyle/>
          <a:p>
            <a:pPr algn="ctr">
              <a:defRPr/>
            </a:pPr>
            <a:r>
              <a:rPr lang="en-ZA" sz="2264" dirty="0">
                <a:latin typeface="Helvetica" pitchFamily="2" charset="0"/>
              </a:rPr>
              <a:t>Benefits</a:t>
            </a:r>
          </a:p>
        </p:txBody>
      </p:sp>
      <p:sp>
        <p:nvSpPr>
          <p:cNvPr id="31" name="Rectangle 30">
            <a:extLst>
              <a:ext uri="{FF2B5EF4-FFF2-40B4-BE49-F238E27FC236}">
                <a16:creationId xmlns:a16="http://schemas.microsoft.com/office/drawing/2014/main" id="{BF13FE14-8771-ED7A-39E3-523B082630D3}"/>
              </a:ext>
            </a:extLst>
          </p:cNvPr>
          <p:cNvSpPr/>
          <p:nvPr/>
        </p:nvSpPr>
        <p:spPr>
          <a:xfrm>
            <a:off x="2696748" y="402311"/>
            <a:ext cx="4674678" cy="614912"/>
          </a:xfrm>
          <a:prstGeom prst="rect">
            <a:avLst/>
          </a:prstGeom>
        </p:spPr>
        <p:txBody>
          <a:bodyPr wrap="none">
            <a:spAutoFit/>
          </a:bodyPr>
          <a:lstStyle/>
          <a:p>
            <a:pPr>
              <a:defRPr/>
            </a:pPr>
            <a:r>
              <a:rPr lang="en-ZA" sz="3396" dirty="0">
                <a:solidFill>
                  <a:schemeClr val="bg1"/>
                </a:solidFill>
              </a:rPr>
              <a:t>Project</a:t>
            </a:r>
            <a:r>
              <a:rPr lang="en-ZA" sz="1887" b="1" dirty="0">
                <a:solidFill>
                  <a:schemeClr val="accent6">
                    <a:lumMod val="75000"/>
                  </a:schemeClr>
                </a:solidFill>
              </a:rPr>
              <a:t> </a:t>
            </a:r>
            <a:r>
              <a:rPr lang="en-ZA" sz="3396" dirty="0">
                <a:solidFill>
                  <a:schemeClr val="bg1"/>
                </a:solidFill>
              </a:rPr>
              <a:t>Management</a:t>
            </a:r>
          </a:p>
        </p:txBody>
      </p:sp>
      <p:sp>
        <p:nvSpPr>
          <p:cNvPr id="12" name="Rectangle 11">
            <a:extLst>
              <a:ext uri="{FF2B5EF4-FFF2-40B4-BE49-F238E27FC236}">
                <a16:creationId xmlns:a16="http://schemas.microsoft.com/office/drawing/2014/main" id="{B5959AF0-1A5C-82FA-5B6F-5A63B59AF549}"/>
              </a:ext>
            </a:extLst>
          </p:cNvPr>
          <p:cNvSpPr/>
          <p:nvPr/>
        </p:nvSpPr>
        <p:spPr>
          <a:xfrm>
            <a:off x="6777627" y="2748792"/>
            <a:ext cx="1973843" cy="2052485"/>
          </a:xfrm>
          <a:prstGeom prst="rect">
            <a:avLst/>
          </a:prstGeom>
          <a:ln>
            <a:solidFill>
              <a:schemeClr val="bg1">
                <a:lumMod val="95000"/>
              </a:schemeClr>
            </a:solidFill>
          </a:ln>
        </p:spPr>
        <p:txBody>
          <a:bodyPr>
            <a:spAutoFit/>
          </a:bodyPr>
          <a:lstStyle/>
          <a:p>
            <a:pPr>
              <a:defRPr/>
            </a:pPr>
            <a:r>
              <a:rPr lang="en-ZA" sz="849" dirty="0">
                <a:latin typeface="Helvetica" pitchFamily="2" charset="0"/>
              </a:rPr>
              <a:t>Weighted performance scorecards identify late or over-budget programs and/or projects at a glance. The   application makes it easy to review payments, costs by activity type, work packages, and any schedule variances throughout the duration of a project. With all this information at hand, users can easily establish benchmarks and identify projects that are not measuring up to these standards. Tracking historical project data also makes it easier to identify improvement opportunities for future projects.</a:t>
            </a:r>
          </a:p>
        </p:txBody>
      </p:sp>
      <p:cxnSp>
        <p:nvCxnSpPr>
          <p:cNvPr id="23" name="Straight Connector 22">
            <a:extLst>
              <a:ext uri="{FF2B5EF4-FFF2-40B4-BE49-F238E27FC236}">
                <a16:creationId xmlns:a16="http://schemas.microsoft.com/office/drawing/2014/main" id="{9BAC3E46-1C27-7F5A-D2BE-C691FF0F8881}"/>
              </a:ext>
            </a:extLst>
          </p:cNvPr>
          <p:cNvCxnSpPr>
            <a:cxnSpLocks/>
          </p:cNvCxnSpPr>
          <p:nvPr/>
        </p:nvCxnSpPr>
        <p:spPr>
          <a:xfrm>
            <a:off x="3642923" y="1208053"/>
            <a:ext cx="0" cy="5234128"/>
          </a:xfrm>
          <a:prstGeom prst="line">
            <a:avLst/>
          </a:prstGeom>
          <a:ln>
            <a:solidFill>
              <a:schemeClr val="tx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3F8C8F-62E0-5A0E-42FE-DC4F8A7FDB69}"/>
              </a:ext>
            </a:extLst>
          </p:cNvPr>
          <p:cNvCxnSpPr>
            <a:cxnSpLocks/>
          </p:cNvCxnSpPr>
          <p:nvPr/>
        </p:nvCxnSpPr>
        <p:spPr>
          <a:xfrm>
            <a:off x="6458420" y="1239503"/>
            <a:ext cx="0" cy="5232631"/>
          </a:xfrm>
          <a:prstGeom prst="line">
            <a:avLst/>
          </a:prstGeom>
          <a:ln>
            <a:solidFill>
              <a:schemeClr val="tx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103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4151" b="1" dirty="0">
                <a:latin typeface="Arial Narrow" pitchFamily="34" charset="0"/>
              </a:rPr>
              <a:t>Glossary of terms</a:t>
            </a:r>
            <a:r>
              <a:rPr lang="en-ZA" b="1" dirty="0">
                <a:latin typeface="Arial Narrow" pitchFamily="34" charset="0"/>
              </a:rPr>
              <a:t/>
            </a:r>
            <a:br>
              <a:rPr lang="en-ZA" b="1" dirty="0">
                <a:latin typeface="Arial Narrow" pitchFamily="34" charset="0"/>
              </a:rPr>
            </a:br>
            <a:endParaRPr lang="en-ZA" dirty="0"/>
          </a:p>
        </p:txBody>
      </p:sp>
      <p:sp>
        <p:nvSpPr>
          <p:cNvPr id="3" name="Footer Placeholder 2">
            <a:extLst>
              <a:ext uri="{FF2B5EF4-FFF2-40B4-BE49-F238E27FC236}">
                <a16:creationId xmlns:a16="http://schemas.microsoft.com/office/drawing/2014/main" id="{F0E3B594-DA66-894D-7A3D-C063BD055AE6}"/>
              </a:ext>
            </a:extLst>
          </p:cNvPr>
          <p:cNvSpPr>
            <a:spLocks noGrp="1"/>
          </p:cNvSpPr>
          <p:nvPr>
            <p:ph type="ftr" sz="quarter" idx="11"/>
          </p:nvPr>
        </p:nvSpPr>
        <p:spPr/>
        <p:txBody>
          <a:bodyPr/>
          <a:lstStyle/>
          <a:p>
            <a:endParaRPr lang="en-GB" dirty="0">
              <a:solidFill>
                <a:srgbClr val="F07F09"/>
              </a:solidFill>
            </a:endParaRPr>
          </a:p>
        </p:txBody>
      </p:sp>
      <p:graphicFrame>
        <p:nvGraphicFramePr>
          <p:cNvPr id="5" name="Table 4">
            <a:extLst>
              <a:ext uri="{FF2B5EF4-FFF2-40B4-BE49-F238E27FC236}">
                <a16:creationId xmlns:a16="http://schemas.microsoft.com/office/drawing/2014/main" id="{3DF7727D-7E13-278A-1E6B-30DEE0E62FFC}"/>
              </a:ext>
            </a:extLst>
          </p:cNvPr>
          <p:cNvGraphicFramePr>
            <a:graphicFrameLocks noGrp="1"/>
          </p:cNvGraphicFramePr>
          <p:nvPr>
            <p:extLst>
              <p:ext uri="{D42A27DB-BD31-4B8C-83A1-F6EECF244321}">
                <p14:modId xmlns:p14="http://schemas.microsoft.com/office/powerpoint/2010/main" val="4175525853"/>
              </p:ext>
            </p:extLst>
          </p:nvPr>
        </p:nvGraphicFramePr>
        <p:xfrm>
          <a:off x="753296" y="1621391"/>
          <a:ext cx="10168736" cy="4341854"/>
        </p:xfrm>
        <a:graphic>
          <a:graphicData uri="http://schemas.openxmlformats.org/drawingml/2006/table">
            <a:tbl>
              <a:tblPr firstRow="1" bandRow="1">
                <a:tableStyleId>{5C22544A-7EE6-4342-B048-85BDC9FD1C3A}</a:tableStyleId>
              </a:tblPr>
              <a:tblGrid>
                <a:gridCol w="1380304">
                  <a:extLst>
                    <a:ext uri="{9D8B030D-6E8A-4147-A177-3AD203B41FA5}">
                      <a16:colId xmlns:a16="http://schemas.microsoft.com/office/drawing/2014/main" val="20000"/>
                    </a:ext>
                  </a:extLst>
                </a:gridCol>
                <a:gridCol w="3504339">
                  <a:extLst>
                    <a:ext uri="{9D8B030D-6E8A-4147-A177-3AD203B41FA5}">
                      <a16:colId xmlns:a16="http://schemas.microsoft.com/office/drawing/2014/main" val="20001"/>
                    </a:ext>
                  </a:extLst>
                </a:gridCol>
                <a:gridCol w="1378040">
                  <a:extLst>
                    <a:ext uri="{9D8B030D-6E8A-4147-A177-3AD203B41FA5}">
                      <a16:colId xmlns:a16="http://schemas.microsoft.com/office/drawing/2014/main" val="20002"/>
                    </a:ext>
                  </a:extLst>
                </a:gridCol>
                <a:gridCol w="3906053">
                  <a:extLst>
                    <a:ext uri="{9D8B030D-6E8A-4147-A177-3AD203B41FA5}">
                      <a16:colId xmlns:a16="http://schemas.microsoft.com/office/drawing/2014/main" val="20003"/>
                    </a:ext>
                  </a:extLst>
                </a:gridCol>
              </a:tblGrid>
              <a:tr h="488818">
                <a:tc>
                  <a:txBody>
                    <a:bodyPr/>
                    <a:lstStyle/>
                    <a:p>
                      <a:r>
                        <a:rPr lang="en-US" sz="1300" dirty="0"/>
                        <a:t>Abbreviation </a:t>
                      </a:r>
                    </a:p>
                  </a:txBody>
                  <a:tcPr marL="86258" marR="86258" marT="43131" marB="43131"/>
                </a:tc>
                <a:tc>
                  <a:txBody>
                    <a:bodyPr/>
                    <a:lstStyle/>
                    <a:p>
                      <a:r>
                        <a:rPr lang="en-US" sz="1300" dirty="0"/>
                        <a:t>Definition</a:t>
                      </a:r>
                      <a:r>
                        <a:rPr lang="en-US" sz="1300" baseline="0" dirty="0"/>
                        <a:t> </a:t>
                      </a:r>
                      <a:endParaRPr lang="en-US" sz="1300" dirty="0"/>
                    </a:p>
                  </a:txBody>
                  <a:tcPr marL="86258" marR="86258" marT="43131" marB="43131"/>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300" dirty="0"/>
                        <a:t>Abbreviation </a:t>
                      </a:r>
                    </a:p>
                    <a:p>
                      <a:endParaRPr lang="en-US" sz="1300" dirty="0"/>
                    </a:p>
                  </a:txBody>
                  <a:tcPr marL="86258" marR="86258" marT="43131" marB="43131"/>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300" dirty="0"/>
                        <a:t>Definition</a:t>
                      </a:r>
                      <a:r>
                        <a:rPr lang="en-US" sz="1300" baseline="0" dirty="0"/>
                        <a:t> </a:t>
                      </a:r>
                      <a:endParaRPr lang="en-US" sz="1300" dirty="0"/>
                    </a:p>
                    <a:p>
                      <a:endParaRPr lang="en-US" sz="1300" dirty="0"/>
                    </a:p>
                  </a:txBody>
                  <a:tcPr marL="86258" marR="86258" marT="43131" marB="43131"/>
                </a:tc>
                <a:extLst>
                  <a:ext uri="{0D108BD9-81ED-4DB2-BD59-A6C34878D82A}">
                    <a16:rowId xmlns:a16="http://schemas.microsoft.com/office/drawing/2014/main" val="10000"/>
                  </a:ext>
                </a:extLst>
              </a:tr>
              <a:tr h="316294">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BAS</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Basic Accounting System</a:t>
                      </a:r>
                    </a:p>
                  </a:txBody>
                  <a:tcPr marL="86258" marR="86258" marT="43131" marB="43131"/>
                </a:tc>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KZN</a:t>
                      </a:r>
                    </a:p>
                  </a:txBody>
                  <a:tcPr marL="86258" marR="86258" marT="43131" marB="43131"/>
                </a:tc>
                <a:tc>
                  <a:txBody>
                    <a:bodyPr/>
                    <a:lstStyle/>
                    <a:p>
                      <a:pPr marL="0" algn="l" defTabSz="457200" rtl="0" eaLnBrk="1" latinLnBrk="0" hangingPunct="1">
                        <a:spcAft>
                          <a:spcPts val="0"/>
                        </a:spcAft>
                      </a:pPr>
                      <a:r>
                        <a:rPr lang="en-US" sz="1500" kern="1200" baseline="0" dirty="0" err="1" smtClean="0">
                          <a:solidFill>
                            <a:schemeClr val="dk1"/>
                          </a:solidFill>
                          <a:latin typeface="+mn-lt"/>
                          <a:ea typeface="+mn-ea"/>
                          <a:cs typeface="+mn-cs"/>
                        </a:rPr>
                        <a:t>Kwa</a:t>
                      </a:r>
                      <a:r>
                        <a:rPr lang="en-US" sz="1500" kern="1200" baseline="0" dirty="0" smtClean="0">
                          <a:solidFill>
                            <a:schemeClr val="dk1"/>
                          </a:solidFill>
                          <a:latin typeface="+mn-lt"/>
                          <a:ea typeface="+mn-ea"/>
                          <a:cs typeface="+mn-cs"/>
                        </a:rPr>
                        <a:t>-Zulu </a:t>
                      </a:r>
                      <a:r>
                        <a:rPr lang="en-US" sz="1500" kern="1200" baseline="0" dirty="0">
                          <a:solidFill>
                            <a:schemeClr val="dk1"/>
                          </a:solidFill>
                          <a:latin typeface="+mn-lt"/>
                          <a:ea typeface="+mn-ea"/>
                          <a:cs typeface="+mn-cs"/>
                        </a:rPr>
                        <a:t>Natal</a:t>
                      </a:r>
                    </a:p>
                  </a:txBody>
                  <a:tcPr marL="86258" marR="86258" marT="43131" marB="43131"/>
                </a:tc>
                <a:extLst>
                  <a:ext uri="{0D108BD9-81ED-4DB2-BD59-A6C34878D82A}">
                    <a16:rowId xmlns:a16="http://schemas.microsoft.com/office/drawing/2014/main" val="10001"/>
                  </a:ext>
                </a:extLst>
              </a:tr>
              <a:tr h="316294">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CSD</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Central Supplier Database</a:t>
                      </a:r>
                    </a:p>
                  </a:txBody>
                  <a:tcPr marL="86258" marR="86258" marT="43131" marB="43131"/>
                </a:tc>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LDM</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Service provider (Consortium)</a:t>
                      </a:r>
                    </a:p>
                  </a:txBody>
                  <a:tcPr marL="86258" marR="86258" marT="43131" marB="43131"/>
                </a:tc>
                <a:extLst>
                  <a:ext uri="{0D108BD9-81ED-4DB2-BD59-A6C34878D82A}">
                    <a16:rowId xmlns:a16="http://schemas.microsoft.com/office/drawing/2014/main" val="10002"/>
                  </a:ext>
                </a:extLst>
              </a:tr>
              <a:tr h="316294">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DPW</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Department of Public Works</a:t>
                      </a:r>
                    </a:p>
                  </a:txBody>
                  <a:tcPr marL="86258" marR="86258" marT="43131" marB="43131"/>
                </a:tc>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MIOS</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Minimum Interoperability Standards </a:t>
                      </a:r>
                    </a:p>
                  </a:txBody>
                  <a:tcPr marL="86258" marR="86258" marT="43131" marB="43131"/>
                </a:tc>
                <a:extLst>
                  <a:ext uri="{0D108BD9-81ED-4DB2-BD59-A6C34878D82A}">
                    <a16:rowId xmlns:a16="http://schemas.microsoft.com/office/drawing/2014/main" val="10003"/>
                  </a:ext>
                </a:extLst>
              </a:tr>
              <a:tr h="316294">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FM</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Facility Management </a:t>
                      </a:r>
                    </a:p>
                  </a:txBody>
                  <a:tcPr marL="86258" marR="86258" marT="43131" marB="43131"/>
                </a:tc>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PMTE</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Property Management Trading Entity</a:t>
                      </a:r>
                    </a:p>
                  </a:txBody>
                  <a:tcPr marL="86258" marR="86258" marT="43131" marB="43131"/>
                </a:tc>
                <a:extLst>
                  <a:ext uri="{0D108BD9-81ED-4DB2-BD59-A6C34878D82A}">
                    <a16:rowId xmlns:a16="http://schemas.microsoft.com/office/drawing/2014/main" val="10004"/>
                  </a:ext>
                </a:extLst>
              </a:tr>
              <a:tr h="546326">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GRAP</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Generally Recognized Accounting Principles </a:t>
                      </a:r>
                    </a:p>
                  </a:txBody>
                  <a:tcPr marL="86258" marR="86258" marT="43131" marB="43131"/>
                </a:tc>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UAT</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User Acceptance Testing</a:t>
                      </a:r>
                    </a:p>
                  </a:txBody>
                  <a:tcPr marL="86258" marR="86258" marT="43131" marB="43131"/>
                </a:tc>
                <a:extLst>
                  <a:ext uri="{0D108BD9-81ED-4DB2-BD59-A6C34878D82A}">
                    <a16:rowId xmlns:a16="http://schemas.microsoft.com/office/drawing/2014/main" val="10005"/>
                  </a:ext>
                </a:extLst>
              </a:tr>
              <a:tr h="316294">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GIS</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Geographical Information System</a:t>
                      </a:r>
                    </a:p>
                  </a:txBody>
                  <a:tcPr marL="86258" marR="86258" marT="43131" marB="43131"/>
                </a:tc>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U-AMP</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User - Asset Management Plan </a:t>
                      </a:r>
                    </a:p>
                  </a:txBody>
                  <a:tcPr marL="86258" marR="86258" marT="43131" marB="43131"/>
                </a:tc>
                <a:extLst>
                  <a:ext uri="{0D108BD9-81ED-4DB2-BD59-A6C34878D82A}">
                    <a16:rowId xmlns:a16="http://schemas.microsoft.com/office/drawing/2014/main" val="10006"/>
                  </a:ext>
                </a:extLst>
              </a:tr>
              <a:tr h="316294">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GRV</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Goods Received Voucher</a:t>
                      </a:r>
                    </a:p>
                  </a:txBody>
                  <a:tcPr marL="86258" marR="86258" marT="43131" marB="43131"/>
                </a:tc>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C-AMP</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Custodian – Asset Management Plan </a:t>
                      </a:r>
                    </a:p>
                  </a:txBody>
                  <a:tcPr marL="86258" marR="86258" marT="43131" marB="43131"/>
                </a:tc>
                <a:extLst>
                  <a:ext uri="{0D108BD9-81ED-4DB2-BD59-A6C34878D82A}">
                    <a16:rowId xmlns:a16="http://schemas.microsoft.com/office/drawing/2014/main" val="10007"/>
                  </a:ext>
                </a:extLst>
              </a:tr>
              <a:tr h="54632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500" b="1" kern="1200" baseline="0" dirty="0">
                          <a:solidFill>
                            <a:schemeClr val="dk1"/>
                          </a:solidFill>
                          <a:latin typeface="+mn-lt"/>
                          <a:ea typeface="+mn-ea"/>
                          <a:cs typeface="+mn-cs"/>
                        </a:rPr>
                        <a:t>GWEA</a:t>
                      </a:r>
                    </a:p>
                  </a:txBody>
                  <a:tcPr marL="86258" marR="86258" marT="43131" marB="43131"/>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500" kern="1200" baseline="0" dirty="0">
                          <a:solidFill>
                            <a:schemeClr val="dk1"/>
                          </a:solidFill>
                          <a:latin typeface="+mn-lt"/>
                          <a:ea typeface="+mn-ea"/>
                          <a:cs typeface="+mn-cs"/>
                        </a:rPr>
                        <a:t>Government Wide Enterprise Architecture </a:t>
                      </a:r>
                    </a:p>
                  </a:txBody>
                  <a:tcPr marL="86258" marR="86258" marT="43131" marB="43131"/>
                </a:tc>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PMIS</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Property Management Information System</a:t>
                      </a:r>
                    </a:p>
                  </a:txBody>
                  <a:tcPr marL="86258" marR="86258" marT="43131" marB="43131"/>
                </a:tc>
                <a:extLst>
                  <a:ext uri="{0D108BD9-81ED-4DB2-BD59-A6C34878D82A}">
                    <a16:rowId xmlns:a16="http://schemas.microsoft.com/office/drawing/2014/main" val="10008"/>
                  </a:ext>
                </a:extLst>
              </a:tr>
              <a:tr h="546326">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GIAMA</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Government Immovable Asset Management Act</a:t>
                      </a:r>
                    </a:p>
                  </a:txBody>
                  <a:tcPr marL="86258" marR="86258" marT="43131" marB="43131"/>
                </a:tc>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WCS</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Works Control Systems</a:t>
                      </a:r>
                    </a:p>
                  </a:txBody>
                  <a:tcPr marL="86258" marR="86258" marT="43131" marB="43131"/>
                </a:tc>
                <a:extLst>
                  <a:ext uri="{0D108BD9-81ED-4DB2-BD59-A6C34878D82A}">
                    <a16:rowId xmlns:a16="http://schemas.microsoft.com/office/drawing/2014/main" val="10009"/>
                  </a:ext>
                </a:extLst>
              </a:tr>
              <a:tr h="316294">
                <a:tc>
                  <a:txBody>
                    <a:bodyPr/>
                    <a:lstStyle/>
                    <a:p>
                      <a:pPr marL="0" algn="l" defTabSz="457200" rtl="0" eaLnBrk="1" latinLnBrk="0" hangingPunct="1">
                        <a:spcAft>
                          <a:spcPts val="0"/>
                        </a:spcAft>
                      </a:pPr>
                      <a:r>
                        <a:rPr lang="en-US" sz="1500" b="1" kern="1200" baseline="0" dirty="0">
                          <a:solidFill>
                            <a:schemeClr val="dk1"/>
                          </a:solidFill>
                          <a:latin typeface="+mn-lt"/>
                          <a:ea typeface="+mn-ea"/>
                          <a:cs typeface="+mn-cs"/>
                        </a:rPr>
                        <a:t>GRV</a:t>
                      </a:r>
                    </a:p>
                  </a:txBody>
                  <a:tcPr marL="86258" marR="86258" marT="43131" marB="43131"/>
                </a:tc>
                <a:tc>
                  <a:txBody>
                    <a:bodyPr/>
                    <a:lstStyle/>
                    <a:p>
                      <a:pPr marL="0" algn="l" defTabSz="457200" rtl="0" eaLnBrk="1" latinLnBrk="0" hangingPunct="1">
                        <a:spcAft>
                          <a:spcPts val="0"/>
                        </a:spcAft>
                      </a:pPr>
                      <a:r>
                        <a:rPr lang="en-US" sz="1500" kern="1200" baseline="0" dirty="0">
                          <a:solidFill>
                            <a:schemeClr val="dk1"/>
                          </a:solidFill>
                          <a:latin typeface="+mn-lt"/>
                          <a:ea typeface="+mn-ea"/>
                          <a:cs typeface="+mn-cs"/>
                        </a:rPr>
                        <a:t>Goods Received Voucher</a:t>
                      </a:r>
                    </a:p>
                  </a:txBody>
                  <a:tcPr marL="86258" marR="86258" marT="43131" marB="43131"/>
                </a:tc>
                <a:tc>
                  <a:txBody>
                    <a:bodyPr/>
                    <a:lstStyle/>
                    <a:p>
                      <a:pPr marL="0" algn="l" defTabSz="457200" rtl="0" eaLnBrk="1" latinLnBrk="0" hangingPunct="1">
                        <a:spcAft>
                          <a:spcPts val="0"/>
                        </a:spcAft>
                      </a:pPr>
                      <a:endParaRPr lang="en-US" sz="1500" kern="1200" baseline="0" dirty="0">
                        <a:solidFill>
                          <a:schemeClr val="dk1"/>
                        </a:solidFill>
                        <a:latin typeface="+mn-lt"/>
                        <a:ea typeface="+mn-ea"/>
                        <a:cs typeface="+mn-cs"/>
                      </a:endParaRPr>
                    </a:p>
                  </a:txBody>
                  <a:tcPr marL="86258" marR="86258" marT="43131" marB="43131">
                    <a:noFill/>
                  </a:tcPr>
                </a:tc>
                <a:tc>
                  <a:txBody>
                    <a:bodyPr/>
                    <a:lstStyle/>
                    <a:p>
                      <a:pPr marL="0" algn="l" defTabSz="457200" rtl="0" eaLnBrk="1" latinLnBrk="0" hangingPunct="1">
                        <a:spcAft>
                          <a:spcPts val="0"/>
                        </a:spcAft>
                      </a:pPr>
                      <a:endParaRPr lang="en-US" sz="1500" kern="1200" baseline="0" dirty="0">
                        <a:solidFill>
                          <a:schemeClr val="dk1"/>
                        </a:solidFill>
                        <a:latin typeface="+mn-lt"/>
                        <a:ea typeface="+mn-ea"/>
                        <a:cs typeface="+mn-cs"/>
                      </a:endParaRPr>
                    </a:p>
                  </a:txBody>
                  <a:tcPr marL="86258" marR="86258" marT="43131" marB="43131">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42967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BB507B5D-81AB-4478-5C2A-1F2992549367}"/>
              </a:ext>
            </a:extLst>
          </p:cNvPr>
          <p:cNvSpPr>
            <a:spLocks noGrp="1"/>
          </p:cNvSpPr>
          <p:nvPr>
            <p:ph type="title"/>
          </p:nvPr>
        </p:nvSpPr>
        <p:spPr bwMode="auto">
          <a:xfrm>
            <a:off x="1028105" y="2820974"/>
            <a:ext cx="9920134" cy="681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r>
              <a:rPr lang="en-US" altLang="en-US" sz="3396" dirty="0">
                <a:solidFill>
                  <a:schemeClr val="tx1"/>
                </a:solidFill>
              </a:rPr>
              <a:t>SAGE FULL SUITE</a:t>
            </a:r>
          </a:p>
        </p:txBody>
      </p:sp>
    </p:spTree>
    <p:extLst>
      <p:ext uri="{BB962C8B-B14F-4D97-AF65-F5344CB8AC3E}">
        <p14:creationId xmlns:p14="http://schemas.microsoft.com/office/powerpoint/2010/main" val="384511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a:extLst>
              <a:ext uri="{FF2B5EF4-FFF2-40B4-BE49-F238E27FC236}">
                <a16:creationId xmlns:a16="http://schemas.microsoft.com/office/drawing/2014/main" id="{28A22235-69F1-A96A-DB7C-2DD8B169A49F}"/>
              </a:ext>
            </a:extLst>
          </p:cNvPr>
          <p:cNvSpPr>
            <a:spLocks noGrp="1"/>
          </p:cNvSpPr>
          <p:nvPr>
            <p:ph type="title"/>
          </p:nvPr>
        </p:nvSpPr>
        <p:spPr bwMode="auto">
          <a:xfrm>
            <a:off x="1260235" y="492197"/>
            <a:ext cx="9920134" cy="68141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r>
              <a:rPr lang="en-US" altLang="en-US" sz="3396"/>
              <a:t>SAGE FULL SUITE</a:t>
            </a:r>
          </a:p>
        </p:txBody>
      </p:sp>
      <p:pic>
        <p:nvPicPr>
          <p:cNvPr id="63492" name="Content Placeholder 4" descr="image001">
            <a:extLst>
              <a:ext uri="{FF2B5EF4-FFF2-40B4-BE49-F238E27FC236}">
                <a16:creationId xmlns:a16="http://schemas.microsoft.com/office/drawing/2014/main" id="{991BE193-9D05-E619-285B-DE1CDF101F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5198" y="1025345"/>
            <a:ext cx="11501604" cy="4862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283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154" name="Group 120">
            <a:extLst>
              <a:ext uri="{FF2B5EF4-FFF2-40B4-BE49-F238E27FC236}">
                <a16:creationId xmlns:a16="http://schemas.microsoft.com/office/drawing/2014/main" id="{59F5EA8F-295E-472A-95F9-80A063823F07}"/>
              </a:ext>
            </a:extLst>
          </p:cNvPr>
          <p:cNvGrpSpPr>
            <a:grpSpLocks/>
          </p:cNvGrpSpPr>
          <p:nvPr/>
        </p:nvGrpSpPr>
        <p:grpSpPr bwMode="auto">
          <a:xfrm>
            <a:off x="4733180" y="1872989"/>
            <a:ext cx="6405256" cy="3630194"/>
            <a:chOff x="1633538" y="1137051"/>
            <a:chExt cx="8891587" cy="4883150"/>
          </a:xfrm>
        </p:grpSpPr>
        <p:sp>
          <p:nvSpPr>
            <p:cNvPr id="49188" name="Content Placeholder 4">
              <a:extLst>
                <a:ext uri="{FF2B5EF4-FFF2-40B4-BE49-F238E27FC236}">
                  <a16:creationId xmlns:a16="http://schemas.microsoft.com/office/drawing/2014/main" id="{D458E5AD-C505-05B5-F459-A6D89CBA7E53}"/>
                </a:ext>
              </a:extLst>
            </p:cNvPr>
            <p:cNvSpPr>
              <a:spLocks/>
            </p:cNvSpPr>
            <p:nvPr/>
          </p:nvSpPr>
          <p:spPr bwMode="auto">
            <a:xfrm>
              <a:off x="1992314" y="1137051"/>
              <a:ext cx="4217987"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251" tIns="43125" rIns="86251" bIns="43125"/>
            <a:lstStyle>
              <a:lvl1pPr marL="342900" indent="-342900"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eaLnBrk="0" hangingPunct="0">
                <a:spcBef>
                  <a:spcPts val="1698"/>
                </a:spcBef>
              </a:pPr>
              <a:endParaRPr lang="en-US" altLang="en-US" sz="2642" b="1">
                <a:solidFill>
                  <a:srgbClr val="000000"/>
                </a:solidFill>
                <a:latin typeface="Arial" panose="020B0604020202020204" pitchFamily="34" charset="0"/>
              </a:endParaRPr>
            </a:p>
          </p:txBody>
        </p:sp>
        <p:sp>
          <p:nvSpPr>
            <p:cNvPr id="123" name="AutoShape 2">
              <a:extLst>
                <a:ext uri="{FF2B5EF4-FFF2-40B4-BE49-F238E27FC236}">
                  <a16:creationId xmlns:a16="http://schemas.microsoft.com/office/drawing/2014/main" id="{F6F81CF8-2EA5-DABB-6C51-CB5831D91ACB}"/>
                </a:ext>
              </a:extLst>
            </p:cNvPr>
            <p:cNvSpPr>
              <a:spLocks noChangeArrowheads="1"/>
            </p:cNvSpPr>
            <p:nvPr/>
          </p:nvSpPr>
          <p:spPr bwMode="auto">
            <a:xfrm>
              <a:off x="6124028" y="1195471"/>
              <a:ext cx="3688023" cy="2326749"/>
            </a:xfrm>
            <a:prstGeom prst="roundRect">
              <a:avLst>
                <a:gd name="adj" fmla="val 10921"/>
              </a:avLst>
            </a:prstGeom>
            <a:solidFill>
              <a:srgbClr val="B3C412"/>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wrap="none" anchor="ctr"/>
            <a:lstStyle/>
            <a:p>
              <a:pPr algn="ctr">
                <a:defRPr/>
              </a:pPr>
              <a:endParaRPr lang="en-US" sz="2642" dirty="0">
                <a:solidFill>
                  <a:srgbClr val="000099"/>
                </a:solidFill>
                <a:latin typeface="Arial" panose="020B0604020202020204" pitchFamily="34" charset="0"/>
                <a:cs typeface="Arial" panose="020B0604020202020204" pitchFamily="34" charset="0"/>
              </a:endParaRPr>
            </a:p>
          </p:txBody>
        </p:sp>
        <p:sp>
          <p:nvSpPr>
            <p:cNvPr id="124" name="AutoShape 3">
              <a:extLst>
                <a:ext uri="{FF2B5EF4-FFF2-40B4-BE49-F238E27FC236}">
                  <a16:creationId xmlns:a16="http://schemas.microsoft.com/office/drawing/2014/main" id="{432E5E5F-C01F-8BFC-65F9-BEE2E4A6645D}"/>
                </a:ext>
              </a:extLst>
            </p:cNvPr>
            <p:cNvSpPr>
              <a:spLocks noChangeArrowheads="1"/>
            </p:cNvSpPr>
            <p:nvPr/>
          </p:nvSpPr>
          <p:spPr bwMode="auto">
            <a:xfrm>
              <a:off x="6121950" y="3612872"/>
              <a:ext cx="3685943" cy="2324734"/>
            </a:xfrm>
            <a:prstGeom prst="roundRect">
              <a:avLst>
                <a:gd name="adj" fmla="val 10306"/>
              </a:avLst>
            </a:prstGeom>
            <a:solidFill>
              <a:schemeClr val="accent3">
                <a:lumMod val="60000"/>
                <a:lumOff val="4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wrap="none" anchor="ctr"/>
            <a:lstStyle/>
            <a:p>
              <a:pPr algn="ctr">
                <a:defRPr/>
              </a:pPr>
              <a:endParaRPr lang="en-US" sz="2642" dirty="0">
                <a:solidFill>
                  <a:schemeClr val="bg1"/>
                </a:solidFill>
                <a:latin typeface="Arial" panose="020B0604020202020204" pitchFamily="34" charset="0"/>
                <a:cs typeface="Arial" panose="020B0604020202020204" pitchFamily="34" charset="0"/>
              </a:endParaRPr>
            </a:p>
          </p:txBody>
        </p:sp>
        <p:sp>
          <p:nvSpPr>
            <p:cNvPr id="125" name="AutoShape 4">
              <a:extLst>
                <a:ext uri="{FF2B5EF4-FFF2-40B4-BE49-F238E27FC236}">
                  <a16:creationId xmlns:a16="http://schemas.microsoft.com/office/drawing/2014/main" id="{E0E30FE1-3E8B-E546-4723-AB4DAF2E1B77}"/>
                </a:ext>
              </a:extLst>
            </p:cNvPr>
            <p:cNvSpPr>
              <a:spLocks noChangeArrowheads="1"/>
            </p:cNvSpPr>
            <p:nvPr/>
          </p:nvSpPr>
          <p:spPr bwMode="auto">
            <a:xfrm>
              <a:off x="2344532" y="3612872"/>
              <a:ext cx="3688023" cy="2324734"/>
            </a:xfrm>
            <a:prstGeom prst="roundRect">
              <a:avLst>
                <a:gd name="adj" fmla="val 9694"/>
              </a:avLst>
            </a:prstGeom>
            <a:solidFill>
              <a:srgbClr val="00B050"/>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wrap="none" anchor="ctr"/>
            <a:lstStyle/>
            <a:p>
              <a:pPr algn="ctr">
                <a:defRPr/>
              </a:pPr>
              <a:endParaRPr lang="en-US" sz="2642" dirty="0">
                <a:solidFill>
                  <a:srgbClr val="000099"/>
                </a:solidFill>
                <a:latin typeface="Arial" panose="020B0604020202020204" pitchFamily="34" charset="0"/>
                <a:cs typeface="Arial" panose="020B0604020202020204" pitchFamily="34" charset="0"/>
              </a:endParaRPr>
            </a:p>
          </p:txBody>
        </p:sp>
        <p:sp>
          <p:nvSpPr>
            <p:cNvPr id="126" name="AutoShape 5">
              <a:extLst>
                <a:ext uri="{FF2B5EF4-FFF2-40B4-BE49-F238E27FC236}">
                  <a16:creationId xmlns:a16="http://schemas.microsoft.com/office/drawing/2014/main" id="{8EEF13AE-60F9-B6A7-68AD-7948739F88D9}"/>
                </a:ext>
              </a:extLst>
            </p:cNvPr>
            <p:cNvSpPr>
              <a:spLocks noChangeArrowheads="1"/>
            </p:cNvSpPr>
            <p:nvPr/>
          </p:nvSpPr>
          <p:spPr bwMode="auto">
            <a:xfrm>
              <a:off x="2344532" y="1195471"/>
              <a:ext cx="3688023" cy="2326749"/>
            </a:xfrm>
            <a:prstGeom prst="roundRect">
              <a:avLst>
                <a:gd name="adj" fmla="val 10921"/>
              </a:avLst>
            </a:prstGeom>
            <a:solidFill>
              <a:srgbClr val="92D050"/>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wrap="none" anchor="ctr"/>
            <a:lstStyle/>
            <a:p>
              <a:pPr>
                <a:defRPr/>
              </a:pPr>
              <a:endParaRPr lang="en-US" sz="2642" dirty="0">
                <a:solidFill>
                  <a:prstClr val="white"/>
                </a:solidFill>
                <a:latin typeface="Arial" panose="020B0604020202020204" pitchFamily="34" charset="0"/>
                <a:cs typeface="Arial" panose="020B0604020202020204" pitchFamily="34" charset="0"/>
              </a:endParaRPr>
            </a:p>
          </p:txBody>
        </p:sp>
        <p:sp>
          <p:nvSpPr>
            <p:cNvPr id="127" name="AutoShape 21">
              <a:extLst>
                <a:ext uri="{FF2B5EF4-FFF2-40B4-BE49-F238E27FC236}">
                  <a16:creationId xmlns:a16="http://schemas.microsoft.com/office/drawing/2014/main" id="{307C5E66-845F-19EA-B612-240686F98349}"/>
                </a:ext>
              </a:extLst>
            </p:cNvPr>
            <p:cNvSpPr>
              <a:spLocks noChangeArrowheads="1"/>
            </p:cNvSpPr>
            <p:nvPr/>
          </p:nvSpPr>
          <p:spPr bwMode="auto">
            <a:xfrm rot="10800000">
              <a:off x="1633538" y="1211587"/>
              <a:ext cx="634074" cy="2326749"/>
            </a:xfrm>
            <a:prstGeom prst="roundRect">
              <a:avLst>
                <a:gd name="adj" fmla="val 50000"/>
              </a:avLst>
            </a:prstGeom>
            <a:solidFill>
              <a:srgbClr val="92D050"/>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anchor="ctr"/>
            <a:lstStyle/>
            <a:p>
              <a:pPr algn="ctr">
                <a:defRPr/>
              </a:pPr>
              <a:r>
                <a:rPr lang="en-US" sz="1132" dirty="0">
                  <a:solidFill>
                    <a:schemeClr val="tx1"/>
                  </a:solidFill>
                  <a:latin typeface="Arial" panose="020B0604020202020204" pitchFamily="34" charset="0"/>
                  <a:cs typeface="Arial" panose="020B0604020202020204" pitchFamily="34" charset="0"/>
                </a:rPr>
                <a:t>Workplace &amp; Facilities</a:t>
              </a:r>
            </a:p>
          </p:txBody>
        </p:sp>
        <p:sp>
          <p:nvSpPr>
            <p:cNvPr id="128" name="AutoShape 22">
              <a:extLst>
                <a:ext uri="{FF2B5EF4-FFF2-40B4-BE49-F238E27FC236}">
                  <a16:creationId xmlns:a16="http://schemas.microsoft.com/office/drawing/2014/main" id="{6DD80B94-723B-5A5B-AD60-1020DBD918AC}"/>
                </a:ext>
              </a:extLst>
            </p:cNvPr>
            <p:cNvSpPr>
              <a:spLocks noChangeArrowheads="1"/>
            </p:cNvSpPr>
            <p:nvPr/>
          </p:nvSpPr>
          <p:spPr bwMode="auto">
            <a:xfrm rot="10800000">
              <a:off x="1633538" y="3610858"/>
              <a:ext cx="634074" cy="2324734"/>
            </a:xfrm>
            <a:prstGeom prst="roundRect">
              <a:avLst>
                <a:gd name="adj" fmla="val 50000"/>
              </a:avLst>
            </a:prstGeom>
            <a:solidFill>
              <a:srgbClr val="00B050"/>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wrap="none" anchor="ctr"/>
            <a:lstStyle/>
            <a:p>
              <a:pPr algn="ctr">
                <a:defRPr/>
              </a:pPr>
              <a:r>
                <a:rPr lang="en-US" sz="1132" dirty="0">
                  <a:solidFill>
                    <a:schemeClr val="tx1"/>
                  </a:solidFill>
                  <a:latin typeface="Arial" panose="020B0604020202020204" pitchFamily="34" charset="0"/>
                  <a:cs typeface="Arial" panose="020B0604020202020204" pitchFamily="34" charset="0"/>
                </a:rPr>
                <a:t>Workplace</a:t>
              </a:r>
            </a:p>
            <a:p>
              <a:pPr algn="ctr">
                <a:defRPr/>
              </a:pPr>
              <a:r>
                <a:rPr lang="en-US" sz="1132" dirty="0">
                  <a:solidFill>
                    <a:schemeClr val="tx1"/>
                  </a:solidFill>
                  <a:latin typeface="Arial" panose="020B0604020202020204" pitchFamily="34" charset="0"/>
                  <a:cs typeface="Arial" panose="020B0604020202020204" pitchFamily="34" charset="0"/>
                </a:rPr>
                <a:t>Infrastructure</a:t>
              </a:r>
            </a:p>
          </p:txBody>
        </p:sp>
        <p:sp>
          <p:nvSpPr>
            <p:cNvPr id="129" name="AutoShape 23">
              <a:extLst>
                <a:ext uri="{FF2B5EF4-FFF2-40B4-BE49-F238E27FC236}">
                  <a16:creationId xmlns:a16="http://schemas.microsoft.com/office/drawing/2014/main" id="{FB1F9B05-41D2-0EBC-6BC6-B2C7F1CA8269}"/>
                </a:ext>
              </a:extLst>
            </p:cNvPr>
            <p:cNvSpPr>
              <a:spLocks noChangeArrowheads="1"/>
            </p:cNvSpPr>
            <p:nvPr/>
          </p:nvSpPr>
          <p:spPr bwMode="auto">
            <a:xfrm rot="10800000">
              <a:off x="9888972" y="1211587"/>
              <a:ext cx="625757" cy="2326749"/>
            </a:xfrm>
            <a:prstGeom prst="roundRect">
              <a:avLst>
                <a:gd name="adj" fmla="val 50000"/>
              </a:avLst>
            </a:prstGeom>
            <a:solidFill>
              <a:srgbClr val="B3C412"/>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anchor="ctr"/>
            <a:lstStyle/>
            <a:p>
              <a:pPr algn="ctr">
                <a:defRPr/>
              </a:pPr>
              <a:r>
                <a:rPr lang="en-US" sz="1132" dirty="0">
                  <a:solidFill>
                    <a:schemeClr val="tx1"/>
                  </a:solidFill>
                  <a:latin typeface="Arial" panose="020B0604020202020204" pitchFamily="34" charset="0"/>
                  <a:cs typeface="Arial" panose="020B0604020202020204" pitchFamily="34" charset="0"/>
                </a:rPr>
                <a:t>Real Estate &amp; Property</a:t>
              </a:r>
            </a:p>
          </p:txBody>
        </p:sp>
        <p:sp>
          <p:nvSpPr>
            <p:cNvPr id="130" name="AutoShape 24">
              <a:extLst>
                <a:ext uri="{FF2B5EF4-FFF2-40B4-BE49-F238E27FC236}">
                  <a16:creationId xmlns:a16="http://schemas.microsoft.com/office/drawing/2014/main" id="{8D283B90-CA05-9E47-FB83-6D06417F9FFD}"/>
                </a:ext>
              </a:extLst>
            </p:cNvPr>
            <p:cNvSpPr>
              <a:spLocks noChangeArrowheads="1"/>
            </p:cNvSpPr>
            <p:nvPr/>
          </p:nvSpPr>
          <p:spPr bwMode="auto">
            <a:xfrm rot="10800000">
              <a:off x="9897288" y="3594742"/>
              <a:ext cx="627837" cy="2324734"/>
            </a:xfrm>
            <a:prstGeom prst="roundRect">
              <a:avLst>
                <a:gd name="adj" fmla="val 50000"/>
              </a:avLst>
            </a:prstGeom>
            <a:solidFill>
              <a:schemeClr val="accent3">
                <a:lumMod val="60000"/>
                <a:lumOff val="40000"/>
              </a:schemeClr>
            </a:solidFill>
            <a:ln>
              <a:headEnd/>
              <a:tailEnd/>
            </a:ln>
            <a:effectLst>
              <a:outerShdw blurRad="50800" dist="381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vert="eaVert" anchor="ctr"/>
            <a:lstStyle/>
            <a:p>
              <a:pPr algn="ctr">
                <a:defRPr/>
              </a:pPr>
              <a:r>
                <a:rPr lang="en-US" sz="1132" dirty="0">
                  <a:solidFill>
                    <a:schemeClr val="tx1"/>
                  </a:solidFill>
                  <a:latin typeface="Arial" panose="020B0604020202020204" pitchFamily="34" charset="0"/>
                  <a:cs typeface="Arial" panose="020B0604020202020204" pitchFamily="34" charset="0"/>
                </a:rPr>
                <a:t>Engineering &amp; Operations</a:t>
              </a:r>
            </a:p>
          </p:txBody>
        </p:sp>
        <p:sp>
          <p:nvSpPr>
            <p:cNvPr id="49197" name="Oval 6">
              <a:extLst>
                <a:ext uri="{FF2B5EF4-FFF2-40B4-BE49-F238E27FC236}">
                  <a16:creationId xmlns:a16="http://schemas.microsoft.com/office/drawing/2014/main" id="{B6784FC8-49E1-5CFA-6F94-07E0AB2D9493}"/>
                </a:ext>
              </a:extLst>
            </p:cNvPr>
            <p:cNvSpPr>
              <a:spLocks noChangeAspect="1" noChangeArrowheads="1"/>
            </p:cNvSpPr>
            <p:nvPr/>
          </p:nvSpPr>
          <p:spPr bwMode="auto">
            <a:xfrm>
              <a:off x="5205414" y="2700740"/>
              <a:ext cx="1736725" cy="1736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endParaRPr lang="fr-FR" altLang="en-US" sz="1698">
                <a:solidFill>
                  <a:srgbClr val="000000"/>
                </a:solidFill>
                <a:latin typeface="Arial" panose="020B0604020202020204" pitchFamily="34" charset="0"/>
              </a:endParaRPr>
            </a:p>
          </p:txBody>
        </p:sp>
        <p:sp>
          <p:nvSpPr>
            <p:cNvPr id="132" name="Oval 18">
              <a:extLst>
                <a:ext uri="{FF2B5EF4-FFF2-40B4-BE49-F238E27FC236}">
                  <a16:creationId xmlns:a16="http://schemas.microsoft.com/office/drawing/2014/main" id="{3155E50D-86CB-4DE5-D2F0-C8201542CD79}"/>
                </a:ext>
              </a:extLst>
            </p:cNvPr>
            <p:cNvSpPr>
              <a:spLocks noChangeAspect="1" noChangeArrowheads="1"/>
            </p:cNvSpPr>
            <p:nvPr/>
          </p:nvSpPr>
          <p:spPr bwMode="auto">
            <a:xfrm>
              <a:off x="5283200" y="2773786"/>
              <a:ext cx="1600200" cy="1600200"/>
            </a:xfrm>
            <a:prstGeom prst="ellipse">
              <a:avLst/>
            </a:prstGeom>
            <a:solidFill>
              <a:srgbClr val="166039"/>
            </a:solidFill>
            <a:ln w="5715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0" rIns="0" anchor="ctr"/>
            <a:lstStyle/>
            <a:p>
              <a:pPr algn="ctr" defTabSz="778777">
                <a:defRPr/>
              </a:pPr>
              <a:r>
                <a:rPr lang="en-US" sz="1321" dirty="0">
                  <a:solidFill>
                    <a:prstClr val="white"/>
                  </a:solidFill>
                  <a:latin typeface="Arial" panose="020B0604020202020204" pitchFamily="34" charset="0"/>
                </a:rPr>
                <a:t>Enterprise Infrastructure Management</a:t>
              </a:r>
            </a:p>
          </p:txBody>
        </p:sp>
        <p:grpSp>
          <p:nvGrpSpPr>
            <p:cNvPr id="133" name="Group 71">
              <a:extLst>
                <a:ext uri="{FF2B5EF4-FFF2-40B4-BE49-F238E27FC236}">
                  <a16:creationId xmlns:a16="http://schemas.microsoft.com/office/drawing/2014/main" id="{93370716-5B21-C320-4C58-AF638B3ECCD6}"/>
                </a:ext>
              </a:extLst>
            </p:cNvPr>
            <p:cNvGrpSpPr>
              <a:grpSpLocks noChangeAspect="1"/>
            </p:cNvGrpSpPr>
            <p:nvPr/>
          </p:nvGrpSpPr>
          <p:grpSpPr bwMode="auto">
            <a:xfrm>
              <a:off x="4734456" y="2210945"/>
              <a:ext cx="2708509" cy="2706789"/>
              <a:chOff x="3290138" y="2451041"/>
              <a:chExt cx="2571751" cy="2572729"/>
            </a:xfrm>
            <a:effectLst>
              <a:outerShdw blurRad="50800" dist="38100" dir="2700000" algn="tl" rotWithShape="0">
                <a:prstClr val="black">
                  <a:alpha val="40000"/>
                </a:prstClr>
              </a:outerShdw>
            </a:effectLst>
          </p:grpSpPr>
          <p:sp>
            <p:nvSpPr>
              <p:cNvPr id="176" name="AutoShape 31">
                <a:extLst>
                  <a:ext uri="{FF2B5EF4-FFF2-40B4-BE49-F238E27FC236}">
                    <a16:creationId xmlns:a16="http://schemas.microsoft.com/office/drawing/2014/main" id="{91BDA644-E7F3-A3EA-3FD1-109840192B0A}"/>
                  </a:ext>
                </a:extLst>
              </p:cNvPr>
              <p:cNvSpPr>
                <a:spLocks noChangeAspect="1" noChangeArrowheads="1"/>
              </p:cNvSpPr>
              <p:nvPr/>
            </p:nvSpPr>
            <p:spPr bwMode="auto">
              <a:xfrm>
                <a:off x="3290138" y="2451041"/>
                <a:ext cx="2571751" cy="25727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67 w 21600"/>
                  <a:gd name="T25" fmla="*/ 3166 h 21600"/>
                  <a:gd name="T26" fmla="*/ 18433 w 21600"/>
                  <a:gd name="T27" fmla="*/ 1843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377" y="10800"/>
                    </a:moveTo>
                    <a:cubicBezTo>
                      <a:pt x="2377" y="15452"/>
                      <a:pt x="6148" y="19223"/>
                      <a:pt x="10800" y="19223"/>
                    </a:cubicBezTo>
                    <a:cubicBezTo>
                      <a:pt x="15452" y="19223"/>
                      <a:pt x="19223" y="15452"/>
                      <a:pt x="19223" y="10800"/>
                    </a:cubicBezTo>
                    <a:cubicBezTo>
                      <a:pt x="19223" y="6148"/>
                      <a:pt x="15452" y="2377"/>
                      <a:pt x="10800" y="2377"/>
                    </a:cubicBezTo>
                    <a:cubicBezTo>
                      <a:pt x="6148" y="2377"/>
                      <a:pt x="2377" y="6148"/>
                      <a:pt x="2377" y="10800"/>
                    </a:cubicBezTo>
                    <a:close/>
                  </a:path>
                </a:pathLst>
              </a:custGeom>
              <a:solidFill>
                <a:schemeClr val="bg1">
                  <a:lumMod val="85000"/>
                </a:schemeClr>
              </a:solidFill>
              <a:ln w="9525">
                <a:noFill/>
                <a:round/>
                <a:headEnd/>
                <a:tailEnd/>
              </a:ln>
              <a:effectLst/>
            </p:spPr>
            <p:txBody>
              <a:bodyPr wrap="none" anchor="ctr"/>
              <a:lstStyle/>
              <a:p>
                <a:pPr algn="ctr">
                  <a:defRPr/>
                </a:pPr>
                <a:endParaRPr lang="es-CL" sz="1698" dirty="0">
                  <a:solidFill>
                    <a:prstClr val="black"/>
                  </a:solidFill>
                  <a:latin typeface="Arial" panose="020B0604020202020204" pitchFamily="34" charset="0"/>
                </a:endParaRPr>
              </a:p>
            </p:txBody>
          </p:sp>
          <p:sp>
            <p:nvSpPr>
              <p:cNvPr id="177" name="WordArt 32">
                <a:extLst>
                  <a:ext uri="{FF2B5EF4-FFF2-40B4-BE49-F238E27FC236}">
                    <a16:creationId xmlns:a16="http://schemas.microsoft.com/office/drawing/2014/main" id="{EF75C2AD-02B3-6AC3-9A83-4EC81DFE5C0D}"/>
                  </a:ext>
                </a:extLst>
              </p:cNvPr>
              <p:cNvSpPr>
                <a:spLocks noChangeArrowheads="1" noChangeShapeType="1" noTextEdit="1"/>
              </p:cNvSpPr>
              <p:nvPr/>
            </p:nvSpPr>
            <p:spPr bwMode="auto">
              <a:xfrm rot="2700000">
                <a:off x="4563412" y="2835909"/>
                <a:ext cx="1188756" cy="549275"/>
              </a:xfrm>
              <a:prstGeom prst="rect">
                <a:avLst/>
              </a:prstGeom>
              <a:effectLst>
                <a:outerShdw blurRad="50800" dist="38100" dir="2700000" algn="tl" rotWithShape="0">
                  <a:prstClr val="black">
                    <a:alpha val="40000"/>
                  </a:prstClr>
                </a:outerShdw>
              </a:effectLst>
            </p:spPr>
            <p:txBody>
              <a:bodyPr spcFirstLastPara="1" wrap="none" fromWordArt="1">
                <a:prstTxWarp prst="textArchUp">
                  <a:avLst>
                    <a:gd name="adj" fmla="val 10800004"/>
                  </a:avLst>
                </a:prstTxWarp>
              </a:bodyPr>
              <a:lstStyle/>
              <a:p>
                <a:pPr algn="ctr">
                  <a:defRPr/>
                </a:pPr>
                <a:r>
                  <a:rPr lang="en-US" sz="1698" kern="10" spc="755" dirty="0">
                    <a:ln w="9525">
                      <a:solidFill>
                        <a:prstClr val="white"/>
                      </a:solidFill>
                      <a:round/>
                      <a:headEnd/>
                      <a:tailEnd/>
                    </a:ln>
                    <a:solidFill>
                      <a:prstClr val="white"/>
                    </a:solidFill>
                    <a:latin typeface="Arial" panose="020B0604020202020204" pitchFamily="34" charset="0"/>
                  </a:rPr>
                  <a:t>          </a:t>
                </a:r>
              </a:p>
            </p:txBody>
          </p:sp>
          <p:sp>
            <p:nvSpPr>
              <p:cNvPr id="178" name="WordArt 33">
                <a:extLst>
                  <a:ext uri="{FF2B5EF4-FFF2-40B4-BE49-F238E27FC236}">
                    <a16:creationId xmlns:a16="http://schemas.microsoft.com/office/drawing/2014/main" id="{E8B5B778-774E-99E0-AD97-3B1A47B14E4E}"/>
                  </a:ext>
                </a:extLst>
              </p:cNvPr>
              <p:cNvSpPr>
                <a:spLocks noChangeArrowheads="1" noChangeShapeType="1" noTextEdit="1"/>
              </p:cNvSpPr>
              <p:nvPr/>
            </p:nvSpPr>
            <p:spPr bwMode="auto">
              <a:xfrm rot="18960000">
                <a:off x="3353009" y="2856935"/>
                <a:ext cx="1270173" cy="568221"/>
              </a:xfrm>
              <a:prstGeom prst="rect">
                <a:avLst/>
              </a:prstGeom>
            </p:spPr>
            <p:txBody>
              <a:bodyPr spcFirstLastPara="1" wrap="none" fromWordArt="1">
                <a:prstTxWarp prst="textArchUp">
                  <a:avLst>
                    <a:gd name="adj" fmla="val 10800004"/>
                  </a:avLst>
                </a:prstTxWarp>
              </a:bodyPr>
              <a:lstStyle/>
              <a:p>
                <a:pPr algn="ctr">
                  <a:defRPr/>
                </a:pPr>
                <a:r>
                  <a:rPr lang="fr-FR" sz="1321" kern="10" spc="660" dirty="0">
                    <a:ln w="9525">
                      <a:solidFill>
                        <a:prstClr val="white"/>
                      </a:solidFill>
                      <a:round/>
                      <a:headEnd/>
                      <a:tailEnd/>
                    </a:ln>
                    <a:solidFill>
                      <a:prstClr val="white"/>
                    </a:solidFill>
                    <a:latin typeface="Arial" panose="020B0604020202020204" pitchFamily="34" charset="0"/>
                  </a:rPr>
                  <a:t>Optimise</a:t>
                </a:r>
              </a:p>
            </p:txBody>
          </p:sp>
          <p:sp>
            <p:nvSpPr>
              <p:cNvPr id="179" name="WordArt 33">
                <a:extLst>
                  <a:ext uri="{FF2B5EF4-FFF2-40B4-BE49-F238E27FC236}">
                    <a16:creationId xmlns:a16="http://schemas.microsoft.com/office/drawing/2014/main" id="{DCAE8190-43B9-8CF3-4999-9CB02350B416}"/>
                  </a:ext>
                </a:extLst>
              </p:cNvPr>
              <p:cNvSpPr>
                <a:spLocks noChangeArrowheads="1" noChangeShapeType="1" noTextEdit="1"/>
              </p:cNvSpPr>
              <p:nvPr/>
            </p:nvSpPr>
            <p:spPr bwMode="auto">
              <a:xfrm rot="2350559">
                <a:off x="3377122" y="4192230"/>
                <a:ext cx="1196976" cy="471933"/>
              </a:xfrm>
              <a:prstGeom prst="rect">
                <a:avLst/>
              </a:prstGeom>
            </p:spPr>
            <p:txBody>
              <a:bodyPr spcFirstLastPara="1" wrap="none" fromWordArt="1">
                <a:prstTxWarp prst="textArchDown">
                  <a:avLst>
                    <a:gd name="adj" fmla="val 0"/>
                  </a:avLst>
                </a:prstTxWarp>
              </a:bodyPr>
              <a:lstStyle/>
              <a:p>
                <a:pPr algn="ctr">
                  <a:defRPr/>
                </a:pPr>
                <a:r>
                  <a:rPr lang="fr-FR" sz="943" kern="10" spc="660" dirty="0">
                    <a:ln w="9525">
                      <a:solidFill>
                        <a:prstClr val="white"/>
                      </a:solidFill>
                      <a:round/>
                      <a:headEnd/>
                      <a:tailEnd/>
                    </a:ln>
                    <a:solidFill>
                      <a:prstClr val="white"/>
                    </a:solidFill>
                    <a:latin typeface="Arial" panose="020B0604020202020204" pitchFamily="34" charset="0"/>
                  </a:rPr>
                  <a:t>Enable</a:t>
                </a:r>
              </a:p>
            </p:txBody>
          </p:sp>
          <p:sp>
            <p:nvSpPr>
              <p:cNvPr id="180" name="WordArt 33">
                <a:extLst>
                  <a:ext uri="{FF2B5EF4-FFF2-40B4-BE49-F238E27FC236}">
                    <a16:creationId xmlns:a16="http://schemas.microsoft.com/office/drawing/2014/main" id="{8BBF9ED5-6E11-5AA1-D185-5528C79EFFBF}"/>
                  </a:ext>
                </a:extLst>
              </p:cNvPr>
              <p:cNvSpPr>
                <a:spLocks noChangeArrowheads="1" noChangeShapeType="1" noTextEdit="1"/>
              </p:cNvSpPr>
              <p:nvPr/>
            </p:nvSpPr>
            <p:spPr bwMode="auto">
              <a:xfrm rot="18540000">
                <a:off x="4531255" y="4016470"/>
                <a:ext cx="1394006" cy="539199"/>
              </a:xfrm>
              <a:prstGeom prst="rect">
                <a:avLst/>
              </a:prstGeom>
            </p:spPr>
            <p:txBody>
              <a:bodyPr spcFirstLastPara="1" wrap="none" fromWordArt="1">
                <a:prstTxWarp prst="textArchDown">
                  <a:avLst>
                    <a:gd name="adj" fmla="val 21543096"/>
                  </a:avLst>
                </a:prstTxWarp>
              </a:bodyPr>
              <a:lstStyle/>
              <a:p>
                <a:pPr algn="ctr">
                  <a:defRPr/>
                </a:pPr>
                <a:r>
                  <a:rPr lang="fr-FR" sz="1132" kern="10" spc="660" dirty="0">
                    <a:ln w="9525">
                      <a:solidFill>
                        <a:prstClr val="white"/>
                      </a:solidFill>
                      <a:round/>
                      <a:headEnd/>
                      <a:tailEnd/>
                    </a:ln>
                    <a:solidFill>
                      <a:prstClr val="white"/>
                    </a:solidFill>
                    <a:latin typeface="Arial" panose="020B0604020202020204" pitchFamily="34" charset="0"/>
                  </a:rPr>
                  <a:t>Preserve</a:t>
                </a:r>
              </a:p>
            </p:txBody>
          </p:sp>
          <p:sp>
            <p:nvSpPr>
              <p:cNvPr id="181" name="Half Frame 180">
                <a:extLst>
                  <a:ext uri="{FF2B5EF4-FFF2-40B4-BE49-F238E27FC236}">
                    <a16:creationId xmlns:a16="http://schemas.microsoft.com/office/drawing/2014/main" id="{8F2B08F1-53FD-3FCF-D4F2-F1850612C1A9}"/>
                  </a:ext>
                </a:extLst>
              </p:cNvPr>
              <p:cNvSpPr/>
              <p:nvPr/>
            </p:nvSpPr>
            <p:spPr bwMode="auto">
              <a:xfrm rot="18819926">
                <a:off x="4483727" y="2484850"/>
                <a:ext cx="182880" cy="182880"/>
              </a:xfrm>
              <a:prstGeom prst="halfFram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lstStyle/>
              <a:p>
                <a:pPr>
                  <a:defRPr/>
                </a:pPr>
                <a:endParaRPr lang="en-US" sz="1698" dirty="0">
                  <a:solidFill>
                    <a:srgbClr val="000066"/>
                  </a:solidFill>
                  <a:latin typeface="Arial" panose="020B0604020202020204" pitchFamily="34" charset="0"/>
                  <a:cs typeface="Arial" panose="020B0604020202020204" pitchFamily="34" charset="0"/>
                </a:endParaRPr>
              </a:p>
            </p:txBody>
          </p:sp>
          <p:sp>
            <p:nvSpPr>
              <p:cNvPr id="182" name="Half Frame 181">
                <a:extLst>
                  <a:ext uri="{FF2B5EF4-FFF2-40B4-BE49-F238E27FC236}">
                    <a16:creationId xmlns:a16="http://schemas.microsoft.com/office/drawing/2014/main" id="{214BAAB3-5B45-B228-D6C2-41F8EBCDE5EA}"/>
                  </a:ext>
                </a:extLst>
              </p:cNvPr>
              <p:cNvSpPr/>
              <p:nvPr/>
            </p:nvSpPr>
            <p:spPr bwMode="auto">
              <a:xfrm rot="2619926">
                <a:off x="5629018" y="3650243"/>
                <a:ext cx="182880" cy="182880"/>
              </a:xfrm>
              <a:prstGeom prst="halfFram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lstStyle/>
              <a:p>
                <a:pPr>
                  <a:defRPr/>
                </a:pPr>
                <a:endParaRPr lang="en-US" sz="1698" dirty="0">
                  <a:solidFill>
                    <a:srgbClr val="000066"/>
                  </a:solidFill>
                  <a:latin typeface="Arial" panose="020B0604020202020204" pitchFamily="34" charset="0"/>
                  <a:cs typeface="Arial" panose="020B0604020202020204" pitchFamily="34" charset="0"/>
                </a:endParaRPr>
              </a:p>
            </p:txBody>
          </p:sp>
          <p:sp>
            <p:nvSpPr>
              <p:cNvPr id="183" name="Half Frame 182">
                <a:extLst>
                  <a:ext uri="{FF2B5EF4-FFF2-40B4-BE49-F238E27FC236}">
                    <a16:creationId xmlns:a16="http://schemas.microsoft.com/office/drawing/2014/main" id="{A01C99A9-560D-D5A2-0D4D-812513D363B2}"/>
                  </a:ext>
                </a:extLst>
              </p:cNvPr>
              <p:cNvSpPr/>
              <p:nvPr/>
            </p:nvSpPr>
            <p:spPr bwMode="auto">
              <a:xfrm rot="18980074" flipV="1">
                <a:off x="3337851" y="3653038"/>
                <a:ext cx="182880" cy="182880"/>
              </a:xfrm>
              <a:prstGeom prst="halfFram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lstStyle/>
              <a:p>
                <a:pPr>
                  <a:defRPr/>
                </a:pPr>
                <a:endParaRPr lang="en-US" sz="1698" dirty="0">
                  <a:solidFill>
                    <a:srgbClr val="000066"/>
                  </a:solidFill>
                  <a:latin typeface="Arial" panose="020B0604020202020204" pitchFamily="34" charset="0"/>
                  <a:cs typeface="Arial" panose="020B0604020202020204" pitchFamily="34" charset="0"/>
                </a:endParaRPr>
              </a:p>
            </p:txBody>
          </p:sp>
          <p:sp>
            <p:nvSpPr>
              <p:cNvPr id="184" name="Half Frame 183">
                <a:extLst>
                  <a:ext uri="{FF2B5EF4-FFF2-40B4-BE49-F238E27FC236}">
                    <a16:creationId xmlns:a16="http://schemas.microsoft.com/office/drawing/2014/main" id="{071A6C2F-6018-5DDB-CB77-D27F9F4C3890}"/>
                  </a:ext>
                </a:extLst>
              </p:cNvPr>
              <p:cNvSpPr/>
              <p:nvPr/>
            </p:nvSpPr>
            <p:spPr bwMode="auto">
              <a:xfrm rot="2780074" flipH="1">
                <a:off x="4486016" y="4800340"/>
                <a:ext cx="182880" cy="182880"/>
              </a:xfrm>
              <a:prstGeom prst="halfFram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a:lstStyle/>
              <a:p>
                <a:pPr>
                  <a:defRPr/>
                </a:pPr>
                <a:endParaRPr lang="en-US" sz="1698" dirty="0">
                  <a:solidFill>
                    <a:srgbClr val="000066"/>
                  </a:solidFill>
                  <a:latin typeface="Arial" panose="020B0604020202020204" pitchFamily="34" charset="0"/>
                  <a:cs typeface="Arial" panose="020B0604020202020204" pitchFamily="34" charset="0"/>
                </a:endParaRPr>
              </a:p>
            </p:txBody>
          </p:sp>
          <p:sp>
            <p:nvSpPr>
              <p:cNvPr id="185" name="WordArt 33">
                <a:extLst>
                  <a:ext uri="{FF2B5EF4-FFF2-40B4-BE49-F238E27FC236}">
                    <a16:creationId xmlns:a16="http://schemas.microsoft.com/office/drawing/2014/main" id="{74D054C4-AE9C-AB17-A1D6-74817D7D8C53}"/>
                  </a:ext>
                </a:extLst>
              </p:cNvPr>
              <p:cNvSpPr>
                <a:spLocks noChangeArrowheads="1" noChangeShapeType="1" noTextEdit="1"/>
              </p:cNvSpPr>
              <p:nvPr/>
            </p:nvSpPr>
            <p:spPr bwMode="auto">
              <a:xfrm rot="2760000">
                <a:off x="4527326" y="2850254"/>
                <a:ext cx="1265730" cy="574900"/>
              </a:xfrm>
              <a:prstGeom prst="rect">
                <a:avLst/>
              </a:prstGeom>
            </p:spPr>
            <p:txBody>
              <a:bodyPr spcFirstLastPara="1" wrap="none" fromWordArt="1">
                <a:prstTxWarp prst="textArchUp">
                  <a:avLst>
                    <a:gd name="adj" fmla="val 10800004"/>
                  </a:avLst>
                </a:prstTxWarp>
              </a:bodyPr>
              <a:lstStyle/>
              <a:p>
                <a:pPr algn="ctr">
                  <a:defRPr/>
                </a:pPr>
                <a:r>
                  <a:rPr lang="fr-FR" sz="1132" kern="10" spc="660" dirty="0">
                    <a:ln w="9525">
                      <a:solidFill>
                        <a:prstClr val="white"/>
                      </a:solidFill>
                      <a:round/>
                      <a:headEnd/>
                      <a:tailEnd/>
                    </a:ln>
                    <a:solidFill>
                      <a:prstClr val="white"/>
                    </a:solidFill>
                    <a:latin typeface="Arial" panose="020B0604020202020204" pitchFamily="34" charset="0"/>
                  </a:rPr>
                  <a:t>Allocate</a:t>
                </a:r>
              </a:p>
            </p:txBody>
          </p:sp>
        </p:grpSp>
        <p:grpSp>
          <p:nvGrpSpPr>
            <p:cNvPr id="49202" name="Group 79">
              <a:extLst>
                <a:ext uri="{FF2B5EF4-FFF2-40B4-BE49-F238E27FC236}">
                  <a16:creationId xmlns:a16="http://schemas.microsoft.com/office/drawing/2014/main" id="{C9C4A192-564A-D10E-0EF8-90514D3ADD08}"/>
                </a:ext>
              </a:extLst>
            </p:cNvPr>
            <p:cNvGrpSpPr>
              <a:grpSpLocks/>
            </p:cNvGrpSpPr>
            <p:nvPr/>
          </p:nvGrpSpPr>
          <p:grpSpPr bwMode="auto">
            <a:xfrm>
              <a:off x="2754766" y="4969277"/>
              <a:ext cx="2749283" cy="734735"/>
              <a:chOff x="1230765" y="5121275"/>
              <a:chExt cx="2749283" cy="734735"/>
            </a:xfrm>
          </p:grpSpPr>
          <p:sp>
            <p:nvSpPr>
              <p:cNvPr id="49240" name="Text Box 57">
                <a:extLst>
                  <a:ext uri="{FF2B5EF4-FFF2-40B4-BE49-F238E27FC236}">
                    <a16:creationId xmlns:a16="http://schemas.microsoft.com/office/drawing/2014/main" id="{729A6CC1-15CC-AE05-2860-BCC329F68DBF}"/>
                  </a:ext>
                </a:extLst>
              </p:cNvPr>
              <p:cNvSpPr txBox="1">
                <a:spLocks noChangeAspect="1" noChangeArrowheads="1"/>
              </p:cNvSpPr>
              <p:nvPr/>
            </p:nvSpPr>
            <p:spPr bwMode="auto">
              <a:xfrm flipH="1">
                <a:off x="1230765" y="5121275"/>
                <a:ext cx="1999799" cy="358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r>
                  <a:rPr lang="en-US" altLang="en-US" sz="1132">
                    <a:latin typeface="Arial" panose="020B0604020202020204" pitchFamily="34" charset="0"/>
                  </a:rPr>
                  <a:t>Asset Management</a:t>
                </a:r>
              </a:p>
            </p:txBody>
          </p:sp>
          <p:grpSp>
            <p:nvGrpSpPr>
              <p:cNvPr id="49241" name="Group 62">
                <a:extLst>
                  <a:ext uri="{FF2B5EF4-FFF2-40B4-BE49-F238E27FC236}">
                    <a16:creationId xmlns:a16="http://schemas.microsoft.com/office/drawing/2014/main" id="{29B3FF88-D700-B460-C491-EE8DE6B2A73C}"/>
                  </a:ext>
                </a:extLst>
              </p:cNvPr>
              <p:cNvGrpSpPr>
                <a:grpSpLocks/>
              </p:cNvGrpSpPr>
              <p:nvPr/>
            </p:nvGrpSpPr>
            <p:grpSpPr bwMode="auto">
              <a:xfrm>
                <a:off x="3273610" y="5170210"/>
                <a:ext cx="706438" cy="685800"/>
                <a:chOff x="3327400" y="5089525"/>
                <a:chExt cx="706438" cy="685800"/>
              </a:xfrm>
            </p:grpSpPr>
            <p:sp>
              <p:nvSpPr>
                <p:cNvPr id="175" name="Oval 71">
                  <a:extLst>
                    <a:ext uri="{FF2B5EF4-FFF2-40B4-BE49-F238E27FC236}">
                      <a16:creationId xmlns:a16="http://schemas.microsoft.com/office/drawing/2014/main" id="{8EDE7613-AEA0-6728-6A78-762535EC51E9}"/>
                    </a:ext>
                  </a:extLst>
                </p:cNvPr>
                <p:cNvSpPr>
                  <a:spLocks noChangeAspect="1"/>
                </p:cNvSpPr>
                <p:nvPr/>
              </p:nvSpPr>
              <p:spPr bwMode="auto">
                <a:xfrm>
                  <a:off x="3327460" y="5088292"/>
                  <a:ext cx="686047" cy="686945"/>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dirty="0">
                    <a:solidFill>
                      <a:schemeClr val="bg1"/>
                    </a:solidFill>
                    <a:latin typeface="Arial" panose="020B0604020202020204" pitchFamily="34" charset="0"/>
                    <a:cs typeface="Arial" panose="020B0604020202020204" pitchFamily="34" charset="0"/>
                  </a:endParaRPr>
                </a:p>
              </p:txBody>
            </p:sp>
          </p:grpSp>
          <p:pic>
            <p:nvPicPr>
              <p:cNvPr id="49242" name="Picture 9">
                <a:extLst>
                  <a:ext uri="{FF2B5EF4-FFF2-40B4-BE49-F238E27FC236}">
                    <a16:creationId xmlns:a16="http://schemas.microsoft.com/office/drawing/2014/main" id="{D7511393-BE37-0408-5BBF-617F6EBB83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4063" y="5278438"/>
                <a:ext cx="68580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203" name="Group 80">
              <a:extLst>
                <a:ext uri="{FF2B5EF4-FFF2-40B4-BE49-F238E27FC236}">
                  <a16:creationId xmlns:a16="http://schemas.microsoft.com/office/drawing/2014/main" id="{21C8445C-1E3D-F3EA-BBD0-2D626A5DDD82}"/>
                </a:ext>
              </a:extLst>
            </p:cNvPr>
            <p:cNvGrpSpPr>
              <a:grpSpLocks/>
            </p:cNvGrpSpPr>
            <p:nvPr/>
          </p:nvGrpSpPr>
          <p:grpSpPr bwMode="auto">
            <a:xfrm>
              <a:off x="2368550" y="3948515"/>
              <a:ext cx="2159000" cy="720257"/>
              <a:chOff x="844550" y="4100513"/>
              <a:chExt cx="2159000" cy="720257"/>
            </a:xfrm>
          </p:grpSpPr>
          <p:sp>
            <p:nvSpPr>
              <p:cNvPr id="49236" name="Text Box 36">
                <a:extLst>
                  <a:ext uri="{FF2B5EF4-FFF2-40B4-BE49-F238E27FC236}">
                    <a16:creationId xmlns:a16="http://schemas.microsoft.com/office/drawing/2014/main" id="{9E890B0F-59C2-87B1-2421-D24CB2EBD379}"/>
                  </a:ext>
                </a:extLst>
              </p:cNvPr>
              <p:cNvSpPr txBox="1">
                <a:spLocks noChangeAspect="1" noChangeArrowheads="1"/>
              </p:cNvSpPr>
              <p:nvPr/>
            </p:nvSpPr>
            <p:spPr bwMode="auto">
              <a:xfrm flipH="1">
                <a:off x="844550" y="4100513"/>
                <a:ext cx="1441449" cy="592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r>
                  <a:rPr lang="en-US" altLang="en-US" sz="1132">
                    <a:latin typeface="Arial" panose="020B0604020202020204" pitchFamily="34" charset="0"/>
                  </a:rPr>
                  <a:t>Workplace Services</a:t>
                </a:r>
              </a:p>
            </p:txBody>
          </p:sp>
          <p:grpSp>
            <p:nvGrpSpPr>
              <p:cNvPr id="49237" name="Group 63">
                <a:extLst>
                  <a:ext uri="{FF2B5EF4-FFF2-40B4-BE49-F238E27FC236}">
                    <a16:creationId xmlns:a16="http://schemas.microsoft.com/office/drawing/2014/main" id="{C7FA68D2-54C4-C7BE-0D9A-FCA6DFD09626}"/>
                  </a:ext>
                </a:extLst>
              </p:cNvPr>
              <p:cNvGrpSpPr>
                <a:grpSpLocks/>
              </p:cNvGrpSpPr>
              <p:nvPr/>
            </p:nvGrpSpPr>
            <p:grpSpPr bwMode="auto">
              <a:xfrm>
                <a:off x="2317750" y="4134970"/>
                <a:ext cx="685800" cy="685800"/>
                <a:chOff x="2317750" y="4117975"/>
                <a:chExt cx="685800" cy="685800"/>
              </a:xfrm>
            </p:grpSpPr>
            <p:sp>
              <p:nvSpPr>
                <p:cNvPr id="171" name="Oval 170">
                  <a:extLst>
                    <a:ext uri="{FF2B5EF4-FFF2-40B4-BE49-F238E27FC236}">
                      <a16:creationId xmlns:a16="http://schemas.microsoft.com/office/drawing/2014/main" id="{98A9C253-1139-8AEC-526C-A3552756E38E}"/>
                    </a:ext>
                  </a:extLst>
                </p:cNvPr>
                <p:cNvSpPr>
                  <a:spLocks noChangeAspect="1"/>
                </p:cNvSpPr>
                <p:nvPr/>
              </p:nvSpPr>
              <p:spPr bwMode="auto">
                <a:xfrm>
                  <a:off x="2317362" y="4118544"/>
                  <a:ext cx="686048" cy="684929"/>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dirty="0">
                    <a:solidFill>
                      <a:srgbClr val="000066"/>
                    </a:solidFill>
                    <a:latin typeface="Arial" panose="020B0604020202020204" pitchFamily="34" charset="0"/>
                    <a:cs typeface="Arial" panose="020B0604020202020204" pitchFamily="34" charset="0"/>
                  </a:endParaRPr>
                </a:p>
              </p:txBody>
            </p:sp>
          </p:grpSp>
          <p:pic>
            <p:nvPicPr>
              <p:cNvPr id="49238" name="Picture 8">
                <a:extLst>
                  <a:ext uri="{FF2B5EF4-FFF2-40B4-BE49-F238E27FC236}">
                    <a16:creationId xmlns:a16="http://schemas.microsoft.com/office/drawing/2014/main" id="{0EE018C7-86E9-042F-BD7B-269D7C4674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7763" y="4225925"/>
                <a:ext cx="51117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204" name="Group 78">
              <a:extLst>
                <a:ext uri="{FF2B5EF4-FFF2-40B4-BE49-F238E27FC236}">
                  <a16:creationId xmlns:a16="http://schemas.microsoft.com/office/drawing/2014/main" id="{93A58A58-C840-179F-4C92-E05B8395D339}"/>
                </a:ext>
              </a:extLst>
            </p:cNvPr>
            <p:cNvGrpSpPr>
              <a:grpSpLocks/>
            </p:cNvGrpSpPr>
            <p:nvPr/>
          </p:nvGrpSpPr>
          <p:grpSpPr bwMode="auto">
            <a:xfrm>
              <a:off x="6647593" y="5154817"/>
              <a:ext cx="3048347" cy="739844"/>
              <a:chOff x="5145273" y="5172635"/>
              <a:chExt cx="3048347" cy="739844"/>
            </a:xfrm>
          </p:grpSpPr>
          <p:sp>
            <p:nvSpPr>
              <p:cNvPr id="49232" name="Text Box 68">
                <a:extLst>
                  <a:ext uri="{FF2B5EF4-FFF2-40B4-BE49-F238E27FC236}">
                    <a16:creationId xmlns:a16="http://schemas.microsoft.com/office/drawing/2014/main" id="{D29FD01B-8845-8765-0A09-EAD6060FC9A4}"/>
                  </a:ext>
                </a:extLst>
              </p:cNvPr>
              <p:cNvSpPr txBox="1">
                <a:spLocks noChangeAspect="1" noChangeArrowheads="1"/>
              </p:cNvSpPr>
              <p:nvPr/>
            </p:nvSpPr>
            <p:spPr bwMode="auto">
              <a:xfrm flipH="1">
                <a:off x="5882843" y="5378152"/>
                <a:ext cx="2310777" cy="534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132">
                    <a:latin typeface="Arial" panose="020B0604020202020204" pitchFamily="34" charset="0"/>
                  </a:rPr>
                  <a:t>Building Operations</a:t>
                </a:r>
              </a:p>
              <a:p>
                <a:endParaRPr lang="en-US" altLang="en-US" sz="849">
                  <a:solidFill>
                    <a:schemeClr val="bg1"/>
                  </a:solidFill>
                  <a:latin typeface="Arial" panose="020B0604020202020204" pitchFamily="34" charset="0"/>
                </a:endParaRPr>
              </a:p>
            </p:txBody>
          </p:sp>
          <p:grpSp>
            <p:nvGrpSpPr>
              <p:cNvPr id="49233" name="Group 61">
                <a:extLst>
                  <a:ext uri="{FF2B5EF4-FFF2-40B4-BE49-F238E27FC236}">
                    <a16:creationId xmlns:a16="http://schemas.microsoft.com/office/drawing/2014/main" id="{90CA0673-8B93-881E-ACAF-6F3FE300F35C}"/>
                  </a:ext>
                </a:extLst>
              </p:cNvPr>
              <p:cNvGrpSpPr>
                <a:grpSpLocks/>
              </p:cNvGrpSpPr>
              <p:nvPr/>
            </p:nvGrpSpPr>
            <p:grpSpPr bwMode="auto">
              <a:xfrm>
                <a:off x="5145273" y="5172635"/>
                <a:ext cx="685800" cy="685800"/>
                <a:chOff x="5199063" y="5065713"/>
                <a:chExt cx="685800" cy="685800"/>
              </a:xfrm>
            </p:grpSpPr>
            <p:sp>
              <p:nvSpPr>
                <p:cNvPr id="167" name="Oval 166">
                  <a:extLst>
                    <a:ext uri="{FF2B5EF4-FFF2-40B4-BE49-F238E27FC236}">
                      <a16:creationId xmlns:a16="http://schemas.microsoft.com/office/drawing/2014/main" id="{15463E9D-712F-19D6-9526-682FACC669C1}"/>
                    </a:ext>
                  </a:extLst>
                </p:cNvPr>
                <p:cNvSpPr>
                  <a:spLocks noChangeAspect="1"/>
                </p:cNvSpPr>
                <p:nvPr/>
              </p:nvSpPr>
              <p:spPr bwMode="auto">
                <a:xfrm>
                  <a:off x="5199389" y="5064862"/>
                  <a:ext cx="686048" cy="686945"/>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dirty="0">
                    <a:solidFill>
                      <a:srgbClr val="000066"/>
                    </a:solidFill>
                    <a:latin typeface="Arial" panose="020B0604020202020204" pitchFamily="34" charset="0"/>
                    <a:cs typeface="Arial" panose="020B0604020202020204" pitchFamily="34" charset="0"/>
                  </a:endParaRPr>
                </a:p>
              </p:txBody>
            </p:sp>
          </p:grpSp>
          <p:pic>
            <p:nvPicPr>
              <p:cNvPr id="49234" name="Picture 7">
                <a:extLst>
                  <a:ext uri="{FF2B5EF4-FFF2-40B4-BE49-F238E27FC236}">
                    <a16:creationId xmlns:a16="http://schemas.microsoft.com/office/drawing/2014/main" id="{6B0168C3-6B2D-6A2C-3D9E-D6F053B8A6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2713" y="5240338"/>
                <a:ext cx="54610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205" name="Group 77">
              <a:extLst>
                <a:ext uri="{FF2B5EF4-FFF2-40B4-BE49-F238E27FC236}">
                  <a16:creationId xmlns:a16="http://schemas.microsoft.com/office/drawing/2014/main" id="{F4EBA132-969D-60D0-79D8-17488301C5B5}"/>
                </a:ext>
              </a:extLst>
            </p:cNvPr>
            <p:cNvGrpSpPr>
              <a:grpSpLocks/>
            </p:cNvGrpSpPr>
            <p:nvPr/>
          </p:nvGrpSpPr>
          <p:grpSpPr bwMode="auto">
            <a:xfrm>
              <a:off x="7543801" y="3708708"/>
              <a:ext cx="2307929" cy="704943"/>
              <a:chOff x="6059488" y="4122645"/>
              <a:chExt cx="2307929" cy="704943"/>
            </a:xfrm>
          </p:grpSpPr>
          <p:sp>
            <p:nvSpPr>
              <p:cNvPr id="49228" name="Text Box 59">
                <a:extLst>
                  <a:ext uri="{FF2B5EF4-FFF2-40B4-BE49-F238E27FC236}">
                    <a16:creationId xmlns:a16="http://schemas.microsoft.com/office/drawing/2014/main" id="{61D7CA14-E1CA-8068-4D1A-C6D07F3D1518}"/>
                  </a:ext>
                </a:extLst>
              </p:cNvPr>
              <p:cNvSpPr txBox="1">
                <a:spLocks noChangeAspect="1" noChangeArrowheads="1"/>
              </p:cNvSpPr>
              <p:nvPr/>
            </p:nvSpPr>
            <p:spPr bwMode="auto">
              <a:xfrm flipH="1">
                <a:off x="6761162" y="4209308"/>
                <a:ext cx="1606255" cy="592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132">
                    <a:latin typeface="Arial" panose="020B0604020202020204" pitchFamily="34" charset="0"/>
                  </a:rPr>
                  <a:t>Risk Management</a:t>
                </a:r>
              </a:p>
            </p:txBody>
          </p:sp>
          <p:grpSp>
            <p:nvGrpSpPr>
              <p:cNvPr id="49229" name="Group 60">
                <a:extLst>
                  <a:ext uri="{FF2B5EF4-FFF2-40B4-BE49-F238E27FC236}">
                    <a16:creationId xmlns:a16="http://schemas.microsoft.com/office/drawing/2014/main" id="{015BB4BC-6870-0355-43F4-52F7DBA54BEF}"/>
                  </a:ext>
                </a:extLst>
              </p:cNvPr>
              <p:cNvGrpSpPr>
                <a:grpSpLocks/>
              </p:cNvGrpSpPr>
              <p:nvPr/>
            </p:nvGrpSpPr>
            <p:grpSpPr bwMode="auto">
              <a:xfrm>
                <a:off x="6060048" y="4122645"/>
                <a:ext cx="712787" cy="704850"/>
                <a:chOff x="5973763" y="4044950"/>
                <a:chExt cx="712787" cy="704850"/>
              </a:xfrm>
            </p:grpSpPr>
            <p:sp>
              <p:nvSpPr>
                <p:cNvPr id="163" name="Oval 72">
                  <a:extLst>
                    <a:ext uri="{FF2B5EF4-FFF2-40B4-BE49-F238E27FC236}">
                      <a16:creationId xmlns:a16="http://schemas.microsoft.com/office/drawing/2014/main" id="{0FE105A4-7AA4-C03F-CC74-8D1C1F5D8CF4}"/>
                    </a:ext>
                  </a:extLst>
                </p:cNvPr>
                <p:cNvSpPr>
                  <a:spLocks noChangeAspect="1"/>
                </p:cNvSpPr>
                <p:nvPr/>
              </p:nvSpPr>
              <p:spPr bwMode="auto">
                <a:xfrm>
                  <a:off x="6000365" y="4063941"/>
                  <a:ext cx="686047" cy="684930"/>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dirty="0">
                    <a:solidFill>
                      <a:srgbClr val="000066"/>
                    </a:solidFill>
                    <a:latin typeface="Arial" panose="020B0604020202020204" pitchFamily="34" charset="0"/>
                    <a:cs typeface="Arial" panose="020B0604020202020204" pitchFamily="34" charset="0"/>
                  </a:endParaRPr>
                </a:p>
              </p:txBody>
            </p:sp>
          </p:grpSp>
          <p:pic>
            <p:nvPicPr>
              <p:cNvPr id="49230" name="Picture 6">
                <a:extLst>
                  <a:ext uri="{FF2B5EF4-FFF2-40B4-BE49-F238E27FC236}">
                    <a16:creationId xmlns:a16="http://schemas.microsoft.com/office/drawing/2014/main" id="{7C7225C9-6A50-073A-3F9D-D573C7FA9F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9488" y="4122738"/>
                <a:ext cx="625475"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206" name="Group 81">
              <a:extLst>
                <a:ext uri="{FF2B5EF4-FFF2-40B4-BE49-F238E27FC236}">
                  <a16:creationId xmlns:a16="http://schemas.microsoft.com/office/drawing/2014/main" id="{98DC7A92-AFCF-9E01-A047-023D2C04C359}"/>
                </a:ext>
              </a:extLst>
            </p:cNvPr>
            <p:cNvGrpSpPr>
              <a:grpSpLocks/>
            </p:cNvGrpSpPr>
            <p:nvPr/>
          </p:nvGrpSpPr>
          <p:grpSpPr bwMode="auto">
            <a:xfrm>
              <a:off x="2354326" y="2385947"/>
              <a:ext cx="2191154" cy="685800"/>
              <a:chOff x="830326" y="2537945"/>
              <a:chExt cx="2191154" cy="685800"/>
            </a:xfrm>
          </p:grpSpPr>
          <p:sp>
            <p:nvSpPr>
              <p:cNvPr id="49224" name="Text Box 38">
                <a:extLst>
                  <a:ext uri="{FF2B5EF4-FFF2-40B4-BE49-F238E27FC236}">
                    <a16:creationId xmlns:a16="http://schemas.microsoft.com/office/drawing/2014/main" id="{3A81E76E-15BE-C1D8-0909-3C9A65AAC7A3}"/>
                  </a:ext>
                </a:extLst>
              </p:cNvPr>
              <p:cNvSpPr txBox="1">
                <a:spLocks noChangeAspect="1" noChangeArrowheads="1"/>
              </p:cNvSpPr>
              <p:nvPr/>
            </p:nvSpPr>
            <p:spPr bwMode="auto">
              <a:xfrm flipH="1">
                <a:off x="830326" y="2541594"/>
                <a:ext cx="1500557" cy="592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r>
                  <a:rPr lang="en-US" altLang="en-US" sz="1132">
                    <a:latin typeface="Arial" panose="020B0604020202020204" pitchFamily="34" charset="0"/>
                  </a:rPr>
                  <a:t>Move Management</a:t>
                </a:r>
              </a:p>
            </p:txBody>
          </p:sp>
          <p:grpSp>
            <p:nvGrpSpPr>
              <p:cNvPr id="49225" name="Group 56">
                <a:extLst>
                  <a:ext uri="{FF2B5EF4-FFF2-40B4-BE49-F238E27FC236}">
                    <a16:creationId xmlns:a16="http://schemas.microsoft.com/office/drawing/2014/main" id="{1411634B-CC2A-D538-FAE3-A2B39A0AFA7C}"/>
                  </a:ext>
                </a:extLst>
              </p:cNvPr>
              <p:cNvGrpSpPr>
                <a:grpSpLocks/>
              </p:cNvGrpSpPr>
              <p:nvPr/>
            </p:nvGrpSpPr>
            <p:grpSpPr bwMode="auto">
              <a:xfrm>
                <a:off x="2335680" y="2537945"/>
                <a:ext cx="685800" cy="685800"/>
                <a:chOff x="2317750" y="2555875"/>
                <a:chExt cx="685800" cy="685800"/>
              </a:xfrm>
            </p:grpSpPr>
            <p:sp>
              <p:nvSpPr>
                <p:cNvPr id="159" name="Oval 71">
                  <a:extLst>
                    <a:ext uri="{FF2B5EF4-FFF2-40B4-BE49-F238E27FC236}">
                      <a16:creationId xmlns:a16="http://schemas.microsoft.com/office/drawing/2014/main" id="{3C508445-64CF-8839-87C6-ABF0E0AA4E5E}"/>
                    </a:ext>
                  </a:extLst>
                </p:cNvPr>
                <p:cNvSpPr>
                  <a:spLocks noChangeAspect="1"/>
                </p:cNvSpPr>
                <p:nvPr/>
              </p:nvSpPr>
              <p:spPr bwMode="auto">
                <a:xfrm>
                  <a:off x="2318143" y="2555969"/>
                  <a:ext cx="686048" cy="684931"/>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dirty="0">
                    <a:solidFill>
                      <a:srgbClr val="000066"/>
                    </a:solidFill>
                    <a:latin typeface="Arial" panose="020B0604020202020204" pitchFamily="34" charset="0"/>
                    <a:cs typeface="Arial" panose="020B0604020202020204" pitchFamily="34" charset="0"/>
                  </a:endParaRPr>
                </a:p>
              </p:txBody>
            </p:sp>
          </p:grpSp>
          <p:pic>
            <p:nvPicPr>
              <p:cNvPr id="49226" name="Picture 5">
                <a:extLst>
                  <a:ext uri="{FF2B5EF4-FFF2-40B4-BE49-F238E27FC236}">
                    <a16:creationId xmlns:a16="http://schemas.microsoft.com/office/drawing/2014/main" id="{3AD31FCC-F836-E4E5-B22E-15F6237B2A5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97125" y="2633663"/>
                <a:ext cx="563563"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207" name="Group 82">
              <a:extLst>
                <a:ext uri="{FF2B5EF4-FFF2-40B4-BE49-F238E27FC236}">
                  <a16:creationId xmlns:a16="http://schemas.microsoft.com/office/drawing/2014/main" id="{8D4FCE0F-3935-B388-C99C-1EE339C8DF89}"/>
                </a:ext>
              </a:extLst>
            </p:cNvPr>
            <p:cNvGrpSpPr>
              <a:grpSpLocks/>
            </p:cNvGrpSpPr>
            <p:nvPr/>
          </p:nvGrpSpPr>
          <p:grpSpPr bwMode="auto">
            <a:xfrm>
              <a:off x="2946791" y="1281515"/>
              <a:ext cx="2548575" cy="794217"/>
              <a:chOff x="1422790" y="1433513"/>
              <a:chExt cx="2548575" cy="794217"/>
            </a:xfrm>
          </p:grpSpPr>
          <p:sp>
            <p:nvSpPr>
              <p:cNvPr id="49220" name="Text Box 29">
                <a:extLst>
                  <a:ext uri="{FF2B5EF4-FFF2-40B4-BE49-F238E27FC236}">
                    <a16:creationId xmlns:a16="http://schemas.microsoft.com/office/drawing/2014/main" id="{FB502A22-3C6F-40B6-1B64-CD3DAD23FEFE}"/>
                  </a:ext>
                </a:extLst>
              </p:cNvPr>
              <p:cNvSpPr txBox="1">
                <a:spLocks noChangeAspect="1" noChangeArrowheads="1"/>
              </p:cNvSpPr>
              <p:nvPr/>
            </p:nvSpPr>
            <p:spPr bwMode="auto">
              <a:xfrm flipH="1">
                <a:off x="1422790" y="1433513"/>
                <a:ext cx="1815710" cy="592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r>
                  <a:rPr lang="en-US" altLang="en-US" sz="1132">
                    <a:latin typeface="Arial" panose="020B0604020202020204" pitchFamily="34" charset="0"/>
                  </a:rPr>
                  <a:t>Space Planning &amp; Management</a:t>
                </a:r>
              </a:p>
            </p:txBody>
          </p:sp>
          <p:grpSp>
            <p:nvGrpSpPr>
              <p:cNvPr id="49221" name="Group 57">
                <a:extLst>
                  <a:ext uri="{FF2B5EF4-FFF2-40B4-BE49-F238E27FC236}">
                    <a16:creationId xmlns:a16="http://schemas.microsoft.com/office/drawing/2014/main" id="{65C0BB5D-FDAB-0CEF-A561-6FB1F0F88D96}"/>
                  </a:ext>
                </a:extLst>
              </p:cNvPr>
              <p:cNvGrpSpPr>
                <a:grpSpLocks/>
              </p:cNvGrpSpPr>
              <p:nvPr/>
            </p:nvGrpSpPr>
            <p:grpSpPr bwMode="auto">
              <a:xfrm>
                <a:off x="3285565" y="1541930"/>
                <a:ext cx="685800" cy="685800"/>
                <a:chOff x="3271838" y="1457325"/>
                <a:chExt cx="685800" cy="685800"/>
              </a:xfrm>
            </p:grpSpPr>
            <p:sp>
              <p:nvSpPr>
                <p:cNvPr id="155" name="Oval 154">
                  <a:extLst>
                    <a:ext uri="{FF2B5EF4-FFF2-40B4-BE49-F238E27FC236}">
                      <a16:creationId xmlns:a16="http://schemas.microsoft.com/office/drawing/2014/main" id="{A7828C27-CD1C-0BAA-5F47-220B2BCE2F57}"/>
                    </a:ext>
                  </a:extLst>
                </p:cNvPr>
                <p:cNvSpPr>
                  <a:spLocks noChangeAspect="1"/>
                </p:cNvSpPr>
                <p:nvPr/>
              </p:nvSpPr>
              <p:spPr bwMode="auto">
                <a:xfrm>
                  <a:off x="3272416" y="1458270"/>
                  <a:ext cx="686048" cy="684931"/>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dirty="0">
                    <a:solidFill>
                      <a:schemeClr val="bg1"/>
                    </a:solidFill>
                    <a:latin typeface="Arial" panose="020B0604020202020204" pitchFamily="34" charset="0"/>
                    <a:cs typeface="Arial" panose="020B0604020202020204" pitchFamily="34" charset="0"/>
                  </a:endParaRPr>
                </a:p>
              </p:txBody>
            </p:sp>
          </p:grpSp>
          <p:pic>
            <p:nvPicPr>
              <p:cNvPr id="49222" name="Picture 4">
                <a:extLst>
                  <a:ext uri="{FF2B5EF4-FFF2-40B4-BE49-F238E27FC236}">
                    <a16:creationId xmlns:a16="http://schemas.microsoft.com/office/drawing/2014/main" id="{2C44C77D-FFEC-F2F7-6417-DC78A53604B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8038" y="1625600"/>
                <a:ext cx="550862"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208" name="Group 76">
              <a:extLst>
                <a:ext uri="{FF2B5EF4-FFF2-40B4-BE49-F238E27FC236}">
                  <a16:creationId xmlns:a16="http://schemas.microsoft.com/office/drawing/2014/main" id="{F0DD3823-8558-F391-117B-C63723923C4F}"/>
                </a:ext>
              </a:extLst>
            </p:cNvPr>
            <p:cNvGrpSpPr>
              <a:grpSpLocks/>
            </p:cNvGrpSpPr>
            <p:nvPr/>
          </p:nvGrpSpPr>
          <p:grpSpPr bwMode="auto">
            <a:xfrm>
              <a:off x="7590866" y="2319740"/>
              <a:ext cx="2230419" cy="827236"/>
              <a:chOff x="6066865" y="2471738"/>
              <a:chExt cx="2230419" cy="827236"/>
            </a:xfrm>
          </p:grpSpPr>
          <p:sp>
            <p:nvSpPr>
              <p:cNvPr id="49216" name="Text Box 59">
                <a:extLst>
                  <a:ext uri="{FF2B5EF4-FFF2-40B4-BE49-F238E27FC236}">
                    <a16:creationId xmlns:a16="http://schemas.microsoft.com/office/drawing/2014/main" id="{4E4AA4E2-C2CA-57B9-B963-5D79AA2023CF}"/>
                  </a:ext>
                </a:extLst>
              </p:cNvPr>
              <p:cNvSpPr txBox="1">
                <a:spLocks noChangeAspect="1" noChangeArrowheads="1"/>
              </p:cNvSpPr>
              <p:nvPr/>
            </p:nvSpPr>
            <p:spPr bwMode="auto">
              <a:xfrm flipH="1">
                <a:off x="6812895" y="2471738"/>
                <a:ext cx="1484389" cy="827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132">
                    <a:latin typeface="Arial" panose="020B0604020202020204" pitchFamily="34" charset="0"/>
                  </a:rPr>
                  <a:t>Capital Project Management</a:t>
                </a:r>
              </a:p>
            </p:txBody>
          </p:sp>
          <p:grpSp>
            <p:nvGrpSpPr>
              <p:cNvPr id="49217" name="Group 59">
                <a:extLst>
                  <a:ext uri="{FF2B5EF4-FFF2-40B4-BE49-F238E27FC236}">
                    <a16:creationId xmlns:a16="http://schemas.microsoft.com/office/drawing/2014/main" id="{C355D4E5-AE73-B3D4-16AA-4B58BD58E56D}"/>
                  </a:ext>
                </a:extLst>
              </p:cNvPr>
              <p:cNvGrpSpPr>
                <a:grpSpLocks/>
              </p:cNvGrpSpPr>
              <p:nvPr/>
            </p:nvGrpSpPr>
            <p:grpSpPr bwMode="auto">
              <a:xfrm>
                <a:off x="6066865" y="2538413"/>
                <a:ext cx="685800" cy="685800"/>
                <a:chOff x="6010275" y="2538413"/>
                <a:chExt cx="685800" cy="685800"/>
              </a:xfrm>
            </p:grpSpPr>
            <p:sp>
              <p:nvSpPr>
                <p:cNvPr id="151" name="Oval 72">
                  <a:extLst>
                    <a:ext uri="{FF2B5EF4-FFF2-40B4-BE49-F238E27FC236}">
                      <a16:creationId xmlns:a16="http://schemas.microsoft.com/office/drawing/2014/main" id="{DF1D44B8-A64A-B7DD-2775-B84F0EC3F7E0}"/>
                    </a:ext>
                  </a:extLst>
                </p:cNvPr>
                <p:cNvSpPr>
                  <a:spLocks noChangeAspect="1"/>
                </p:cNvSpPr>
                <p:nvPr/>
              </p:nvSpPr>
              <p:spPr bwMode="auto">
                <a:xfrm>
                  <a:off x="6011162" y="2538040"/>
                  <a:ext cx="686048" cy="684929"/>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dirty="0">
                    <a:solidFill>
                      <a:srgbClr val="000066"/>
                    </a:solidFill>
                    <a:latin typeface="Arial" panose="020B0604020202020204" pitchFamily="34" charset="0"/>
                    <a:cs typeface="Arial" panose="020B0604020202020204" pitchFamily="34" charset="0"/>
                  </a:endParaRPr>
                </a:p>
              </p:txBody>
            </p:sp>
          </p:grpSp>
          <p:pic>
            <p:nvPicPr>
              <p:cNvPr id="49218" name="Picture 3">
                <a:extLst>
                  <a:ext uri="{FF2B5EF4-FFF2-40B4-BE49-F238E27FC236}">
                    <a16:creationId xmlns:a16="http://schemas.microsoft.com/office/drawing/2014/main" id="{EE1D4E9B-278B-3375-CA8F-C7D9DDA4DC6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30925" y="2609850"/>
                <a:ext cx="590550"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209" name="Group 73">
              <a:extLst>
                <a:ext uri="{FF2B5EF4-FFF2-40B4-BE49-F238E27FC236}">
                  <a16:creationId xmlns:a16="http://schemas.microsoft.com/office/drawing/2014/main" id="{6EBB1745-35E2-3728-6269-CA9A0FDE5E38}"/>
                </a:ext>
              </a:extLst>
            </p:cNvPr>
            <p:cNvGrpSpPr>
              <a:grpSpLocks/>
            </p:cNvGrpSpPr>
            <p:nvPr/>
          </p:nvGrpSpPr>
          <p:grpSpPr bwMode="auto">
            <a:xfrm>
              <a:off x="6696636" y="1257702"/>
              <a:ext cx="2817409" cy="849405"/>
              <a:chOff x="5172635" y="1409700"/>
              <a:chExt cx="2817409" cy="849405"/>
            </a:xfrm>
          </p:grpSpPr>
          <p:grpSp>
            <p:nvGrpSpPr>
              <p:cNvPr id="49210" name="Group 64">
                <a:extLst>
                  <a:ext uri="{FF2B5EF4-FFF2-40B4-BE49-F238E27FC236}">
                    <a16:creationId xmlns:a16="http://schemas.microsoft.com/office/drawing/2014/main" id="{7AF81130-8A5F-97DB-3972-5448C5B9519E}"/>
                  </a:ext>
                </a:extLst>
              </p:cNvPr>
              <p:cNvGrpSpPr>
                <a:grpSpLocks/>
              </p:cNvGrpSpPr>
              <p:nvPr/>
            </p:nvGrpSpPr>
            <p:grpSpPr bwMode="auto">
              <a:xfrm>
                <a:off x="5895202" y="1409700"/>
                <a:ext cx="2094842" cy="720340"/>
                <a:chOff x="5714227" y="1476375"/>
                <a:chExt cx="2094842" cy="720340"/>
              </a:xfrm>
            </p:grpSpPr>
            <p:sp>
              <p:nvSpPr>
                <p:cNvPr id="49214" name="Text Box 53">
                  <a:extLst>
                    <a:ext uri="{FF2B5EF4-FFF2-40B4-BE49-F238E27FC236}">
                      <a16:creationId xmlns:a16="http://schemas.microsoft.com/office/drawing/2014/main" id="{161AB8FC-2940-6E58-654C-9CDA0FE95C96}"/>
                    </a:ext>
                  </a:extLst>
                </p:cNvPr>
                <p:cNvSpPr txBox="1">
                  <a:spLocks noChangeAspect="1" noChangeArrowheads="1"/>
                </p:cNvSpPr>
                <p:nvPr/>
              </p:nvSpPr>
              <p:spPr bwMode="auto">
                <a:xfrm flipH="1">
                  <a:off x="5719763" y="1476375"/>
                  <a:ext cx="2089306" cy="592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132">
                      <a:latin typeface="Arial" panose="020B0604020202020204" pitchFamily="34" charset="0"/>
                    </a:rPr>
                    <a:t>Real Estate Portfolio Management</a:t>
                  </a:r>
                </a:p>
              </p:txBody>
            </p:sp>
            <p:sp>
              <p:nvSpPr>
                <p:cNvPr id="147" name="Text Box 75">
                  <a:extLst>
                    <a:ext uri="{FF2B5EF4-FFF2-40B4-BE49-F238E27FC236}">
                      <a16:creationId xmlns:a16="http://schemas.microsoft.com/office/drawing/2014/main" id="{4F9D6A64-14F5-AE24-E01E-8D8D40448FBB}"/>
                    </a:ext>
                  </a:extLst>
                </p:cNvPr>
                <p:cNvSpPr txBox="1">
                  <a:spLocks noChangeArrowheads="1"/>
                </p:cNvSpPr>
                <p:nvPr/>
              </p:nvSpPr>
              <p:spPr bwMode="auto">
                <a:xfrm>
                  <a:off x="5714227" y="1867407"/>
                  <a:ext cx="1991615" cy="32930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endParaRPr lang="en-US" sz="991" dirty="0">
                    <a:solidFill>
                      <a:schemeClr val="bg1"/>
                    </a:solidFill>
                    <a:latin typeface="Arial" panose="020B0604020202020204" pitchFamily="34" charset="0"/>
                  </a:endParaRPr>
                </a:p>
              </p:txBody>
            </p:sp>
          </p:grpSp>
          <p:grpSp>
            <p:nvGrpSpPr>
              <p:cNvPr id="49211" name="Group 58">
                <a:extLst>
                  <a:ext uri="{FF2B5EF4-FFF2-40B4-BE49-F238E27FC236}">
                    <a16:creationId xmlns:a16="http://schemas.microsoft.com/office/drawing/2014/main" id="{6856CECD-7CBA-6009-51A3-1267A2AF6C45}"/>
                  </a:ext>
                </a:extLst>
              </p:cNvPr>
              <p:cNvGrpSpPr>
                <a:grpSpLocks/>
              </p:cNvGrpSpPr>
              <p:nvPr/>
            </p:nvGrpSpPr>
            <p:grpSpPr bwMode="auto">
              <a:xfrm>
                <a:off x="5172635" y="1573305"/>
                <a:ext cx="685800" cy="685800"/>
                <a:chOff x="4933950" y="1519238"/>
                <a:chExt cx="685800" cy="685800"/>
              </a:xfrm>
            </p:grpSpPr>
            <p:sp>
              <p:nvSpPr>
                <p:cNvPr id="145" name="Oval 144">
                  <a:extLst>
                    <a:ext uri="{FF2B5EF4-FFF2-40B4-BE49-F238E27FC236}">
                      <a16:creationId xmlns:a16="http://schemas.microsoft.com/office/drawing/2014/main" id="{21FEA86A-B5F9-F935-1297-00DBC03D048F}"/>
                    </a:ext>
                  </a:extLst>
                </p:cNvPr>
                <p:cNvSpPr>
                  <a:spLocks noChangeAspect="1"/>
                </p:cNvSpPr>
                <p:nvPr/>
              </p:nvSpPr>
              <p:spPr bwMode="auto">
                <a:xfrm>
                  <a:off x="4933049" y="1519026"/>
                  <a:ext cx="686048" cy="686946"/>
                </a:xfrm>
                <a:prstGeom prst="ellipse">
                  <a:avLst/>
                </a:prstGeom>
                <a:solidFill>
                  <a:srgbClr val="99ABD3"/>
                </a:soli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a:lstStyle/>
                <a:p>
                  <a:pPr>
                    <a:defRPr/>
                  </a:pPr>
                  <a:endParaRPr lang="en-US" sz="1887" dirty="0">
                    <a:solidFill>
                      <a:srgbClr val="000066"/>
                    </a:solidFill>
                    <a:latin typeface="Arial" panose="020B0604020202020204" pitchFamily="34" charset="0"/>
                    <a:cs typeface="Arial" panose="020B0604020202020204" pitchFamily="34" charset="0"/>
                  </a:endParaRPr>
                </a:p>
              </p:txBody>
            </p:sp>
          </p:grpSp>
          <p:pic>
            <p:nvPicPr>
              <p:cNvPr id="49212" name="Picture 2">
                <a:extLst>
                  <a:ext uri="{FF2B5EF4-FFF2-40B4-BE49-F238E27FC236}">
                    <a16:creationId xmlns:a16="http://schemas.microsoft.com/office/drawing/2014/main" id="{C59893A7-BDE2-CB00-379E-58FE1849BD7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45100" y="1598613"/>
                <a:ext cx="528638"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 name="Title 1">
            <a:extLst>
              <a:ext uri="{FF2B5EF4-FFF2-40B4-BE49-F238E27FC236}">
                <a16:creationId xmlns:a16="http://schemas.microsoft.com/office/drawing/2014/main" id="{099301CF-171D-8E9C-E31C-5688F1826144}"/>
              </a:ext>
            </a:extLst>
          </p:cNvPr>
          <p:cNvSpPr>
            <a:spLocks noGrp="1"/>
          </p:cNvSpPr>
          <p:nvPr>
            <p:ph type="title"/>
          </p:nvPr>
        </p:nvSpPr>
        <p:spPr>
          <a:xfrm>
            <a:off x="933757" y="355915"/>
            <a:ext cx="10850204" cy="1181611"/>
          </a:xfrm>
          <a:ln>
            <a:solidFill>
              <a:schemeClr val="bg1"/>
            </a:solidFill>
          </a:ln>
        </p:spPr>
        <p:txBody>
          <a:bodyPr>
            <a:normAutofit/>
          </a:bodyPr>
          <a:lstStyle/>
          <a:p>
            <a:pPr>
              <a:spcBef>
                <a:spcPct val="20000"/>
              </a:spcBef>
              <a:defRPr/>
            </a:pPr>
            <a:r>
              <a:rPr lang="en-US" sz="3396" dirty="0">
                <a:latin typeface="+mn-lt"/>
                <a:ea typeface="+mn-ea"/>
                <a:cs typeface="+mn-cs"/>
              </a:rPr>
              <a:t>ERP &amp; SAGE VALUE CHAIN</a:t>
            </a:r>
            <a:br>
              <a:rPr lang="en-US" sz="3396" dirty="0">
                <a:latin typeface="+mn-lt"/>
                <a:ea typeface="+mn-ea"/>
                <a:cs typeface="+mn-cs"/>
              </a:rPr>
            </a:br>
            <a:r>
              <a:rPr lang="en-US" sz="3396" dirty="0">
                <a:latin typeface="+mn-lt"/>
                <a:ea typeface="+mn-ea"/>
                <a:cs typeface="+mn-cs"/>
              </a:rPr>
              <a:t>PROCESS INTEGRATION FRAMEWORK</a:t>
            </a:r>
          </a:p>
        </p:txBody>
      </p:sp>
      <p:sp>
        <p:nvSpPr>
          <p:cNvPr id="33" name="Rectangle 32">
            <a:extLst>
              <a:ext uri="{FF2B5EF4-FFF2-40B4-BE49-F238E27FC236}">
                <a16:creationId xmlns:a16="http://schemas.microsoft.com/office/drawing/2014/main" id="{770981D3-D2F1-DC9A-63DF-A5EF2A445164}"/>
              </a:ext>
            </a:extLst>
          </p:cNvPr>
          <p:cNvSpPr/>
          <p:nvPr/>
        </p:nvSpPr>
        <p:spPr>
          <a:xfrm>
            <a:off x="8968407" y="1959850"/>
            <a:ext cx="1416734" cy="539138"/>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39" name="Rectangle 38">
            <a:extLst>
              <a:ext uri="{FF2B5EF4-FFF2-40B4-BE49-F238E27FC236}">
                <a16:creationId xmlns:a16="http://schemas.microsoft.com/office/drawing/2014/main" id="{393C51D1-0100-6AEE-B571-732BC5F82395}"/>
              </a:ext>
            </a:extLst>
          </p:cNvPr>
          <p:cNvSpPr/>
          <p:nvPr/>
        </p:nvSpPr>
        <p:spPr>
          <a:xfrm>
            <a:off x="9624357" y="2785030"/>
            <a:ext cx="976438" cy="539138"/>
          </a:xfrm>
          <a:prstGeom prst="rect">
            <a:avLst/>
          </a:prstGeom>
          <a:noFill/>
          <a:ln w="571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52" name="Rectangle 51">
            <a:extLst>
              <a:ext uri="{FF2B5EF4-FFF2-40B4-BE49-F238E27FC236}">
                <a16:creationId xmlns:a16="http://schemas.microsoft.com/office/drawing/2014/main" id="{92BF0EDD-89BD-63C5-178F-5613FAF17EF8}"/>
              </a:ext>
            </a:extLst>
          </p:cNvPr>
          <p:cNvSpPr/>
          <p:nvPr/>
        </p:nvSpPr>
        <p:spPr>
          <a:xfrm>
            <a:off x="8950435" y="4838246"/>
            <a:ext cx="1349342" cy="539138"/>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55" name="Rectangle 54">
            <a:extLst>
              <a:ext uri="{FF2B5EF4-FFF2-40B4-BE49-F238E27FC236}">
                <a16:creationId xmlns:a16="http://schemas.microsoft.com/office/drawing/2014/main" id="{73A8F61B-A814-BB6B-DDFC-21354C9432EE}"/>
              </a:ext>
            </a:extLst>
          </p:cNvPr>
          <p:cNvSpPr/>
          <p:nvPr/>
        </p:nvSpPr>
        <p:spPr>
          <a:xfrm>
            <a:off x="2058459" y="4992499"/>
            <a:ext cx="1262481" cy="539138"/>
          </a:xfrm>
          <a:prstGeom prst="rect">
            <a:avLst/>
          </a:prstGeom>
          <a:noFill/>
          <a:ln w="57150">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grpSp>
        <p:nvGrpSpPr>
          <p:cNvPr id="49160" name="Group 23">
            <a:extLst>
              <a:ext uri="{FF2B5EF4-FFF2-40B4-BE49-F238E27FC236}">
                <a16:creationId xmlns:a16="http://schemas.microsoft.com/office/drawing/2014/main" id="{4EF72CF0-7A71-C39A-4643-3A45228F573A}"/>
              </a:ext>
            </a:extLst>
          </p:cNvPr>
          <p:cNvGrpSpPr>
            <a:grpSpLocks/>
          </p:cNvGrpSpPr>
          <p:nvPr/>
        </p:nvGrpSpPr>
        <p:grpSpPr bwMode="auto">
          <a:xfrm rot="5400000">
            <a:off x="131040" y="2497491"/>
            <a:ext cx="4996010" cy="3103037"/>
            <a:chOff x="2074671" y="1870580"/>
            <a:chExt cx="8076930" cy="3667121"/>
          </a:xfrm>
        </p:grpSpPr>
        <p:sp>
          <p:nvSpPr>
            <p:cNvPr id="25" name="Rectangle 24">
              <a:extLst>
                <a:ext uri="{FF2B5EF4-FFF2-40B4-BE49-F238E27FC236}">
                  <a16:creationId xmlns:a16="http://schemas.microsoft.com/office/drawing/2014/main" id="{FD7E1073-0415-DD9C-0A1B-965076CEE58C}"/>
                </a:ext>
              </a:extLst>
            </p:cNvPr>
            <p:cNvSpPr/>
            <p:nvPr/>
          </p:nvSpPr>
          <p:spPr bwMode="auto">
            <a:xfrm>
              <a:off x="2110990" y="1870580"/>
              <a:ext cx="8040611" cy="3667121"/>
            </a:xfrm>
            <a:prstGeom prst="rect">
              <a:avLst/>
            </a:prstGeom>
            <a:solidFill>
              <a:sysClr val="window" lastClr="FFFFFF"/>
            </a:solidFill>
            <a:ln w="9525" cap="flat" cmpd="sng" algn="ctr">
              <a:solidFill>
                <a:srgbClr val="A5A5E9"/>
              </a:solidFill>
              <a:prstDash val="solid"/>
              <a:round/>
              <a:headEnd type="none" w="med" len="med"/>
              <a:tailEnd type="none" w="med" len="med"/>
            </a:ln>
            <a:effectLst>
              <a:outerShdw blurRad="50800" dist="38100" dir="8100000" algn="tr" rotWithShape="0">
                <a:prstClr val="black">
                  <a:alpha val="40000"/>
                </a:prstClr>
              </a:outerShdw>
            </a:effectLst>
          </p:spPr>
          <p:txBody>
            <a:bodyPr vert="vert270" anchorCtr="1"/>
            <a:lstStyle/>
            <a:p>
              <a:pPr defTabSz="431322" hangingPunct="0">
                <a:lnSpc>
                  <a:spcPct val="93000"/>
                </a:lnSpc>
                <a:buClr>
                  <a:srgbClr val="000000"/>
                </a:buClr>
                <a:buSzPct val="100000"/>
                <a:defRPr/>
              </a:pPr>
              <a:endParaRPr lang="en-US" sz="1509" b="1" kern="0" dirty="0">
                <a:latin typeface="Arial" charset="0"/>
                <a:cs typeface="Arial Unicode MS" charset="0"/>
              </a:endParaRPr>
            </a:p>
          </p:txBody>
        </p:sp>
        <p:sp>
          <p:nvSpPr>
            <p:cNvPr id="26" name="Chevron 25">
              <a:extLst>
                <a:ext uri="{FF2B5EF4-FFF2-40B4-BE49-F238E27FC236}">
                  <a16:creationId xmlns:a16="http://schemas.microsoft.com/office/drawing/2014/main" id="{CE906B90-64C5-E86A-A4CD-C3052B00E73D}"/>
                </a:ext>
              </a:extLst>
            </p:cNvPr>
            <p:cNvSpPr/>
            <p:nvPr/>
          </p:nvSpPr>
          <p:spPr bwMode="auto">
            <a:xfrm>
              <a:off x="2420356" y="2883603"/>
              <a:ext cx="1748538" cy="1557259"/>
            </a:xfrm>
            <a:prstGeom prst="chevron">
              <a:avLst>
                <a:gd name="adj" fmla="val 22755"/>
              </a:avLst>
            </a:prstGeom>
            <a:solidFill>
              <a:srgbClr val="564B3C">
                <a:lumMod val="60000"/>
                <a:lumOff val="40000"/>
              </a:srgbClr>
            </a:solidFill>
            <a:ln w="9525" cap="flat" cmpd="sng" algn="ctr">
              <a:solidFill>
                <a:sysClr val="window" lastClr="FFFFFF"/>
              </a:solidFill>
              <a:prstDash val="solid"/>
              <a:round/>
              <a:headEnd type="none" w="med" len="med"/>
              <a:tailEnd type="none" w="med" len="med"/>
            </a:ln>
            <a:effectLst/>
          </p:spPr>
          <p:txBody>
            <a:bodyPr vert="vert270" anchor="ctr" anchorCtr="1"/>
            <a:lstStyle/>
            <a:p>
              <a:pPr algn="ctr" defTabSz="431322" hangingPunct="0">
                <a:lnSpc>
                  <a:spcPct val="93000"/>
                </a:lnSpc>
                <a:buClr>
                  <a:srgbClr val="000000"/>
                </a:buClr>
                <a:buSzPct val="100000"/>
                <a:defRPr/>
              </a:pPr>
              <a:r>
                <a:rPr lang="en-US" sz="1132" kern="0" dirty="0">
                  <a:latin typeface="Arial" charset="0"/>
                  <a:ea typeface="Arial Unicode MS" pitchFamily="34" charset="-128"/>
                  <a:cs typeface="Arial Unicode MS" charset="0"/>
                </a:rPr>
                <a:t>Plan Accommodation</a:t>
              </a:r>
            </a:p>
          </p:txBody>
        </p:sp>
        <p:sp>
          <p:nvSpPr>
            <p:cNvPr id="27" name="Chevron 26">
              <a:extLst>
                <a:ext uri="{FF2B5EF4-FFF2-40B4-BE49-F238E27FC236}">
                  <a16:creationId xmlns:a16="http://schemas.microsoft.com/office/drawing/2014/main" id="{77701766-4564-6E90-00D1-B97A82A057B5}"/>
                </a:ext>
              </a:extLst>
            </p:cNvPr>
            <p:cNvSpPr/>
            <p:nvPr/>
          </p:nvSpPr>
          <p:spPr bwMode="auto">
            <a:xfrm>
              <a:off x="3812425" y="2883603"/>
              <a:ext cx="1796082" cy="1557259"/>
            </a:xfrm>
            <a:prstGeom prst="chevron">
              <a:avLst>
                <a:gd name="adj" fmla="val 22755"/>
              </a:avLst>
            </a:prstGeom>
            <a:solidFill>
              <a:srgbClr val="848058">
                <a:lumMod val="60000"/>
                <a:lumOff val="40000"/>
              </a:srgbClr>
            </a:solidFill>
            <a:ln w="9525" cap="flat" cmpd="sng" algn="ctr">
              <a:solidFill>
                <a:sysClr val="window" lastClr="FFFFFF"/>
              </a:solidFill>
              <a:prstDash val="solid"/>
              <a:round/>
              <a:headEnd type="none" w="med" len="med"/>
              <a:tailEnd type="none" w="med" len="med"/>
            </a:ln>
            <a:effectLst/>
          </p:spPr>
          <p:txBody>
            <a:bodyPr vert="vert270" anchor="ctr" anchorCtr="1"/>
            <a:lstStyle/>
            <a:p>
              <a:pPr algn="ctr" defTabSz="431322" hangingPunct="0">
                <a:lnSpc>
                  <a:spcPct val="93000"/>
                </a:lnSpc>
                <a:buClr>
                  <a:srgbClr val="000000"/>
                </a:buClr>
                <a:buSzPct val="100000"/>
                <a:defRPr/>
              </a:pPr>
              <a:r>
                <a:rPr lang="en-US" sz="1132" kern="0" dirty="0">
                  <a:latin typeface="Arial" charset="0"/>
                  <a:ea typeface="Arial Unicode MS" pitchFamily="34" charset="-128"/>
                  <a:cs typeface="Arial Unicode MS" charset="0"/>
                </a:rPr>
                <a:t>Acquire and/or Construct Accommodation</a:t>
              </a:r>
            </a:p>
          </p:txBody>
        </p:sp>
        <p:sp>
          <p:nvSpPr>
            <p:cNvPr id="28" name="Chevron 27">
              <a:extLst>
                <a:ext uri="{FF2B5EF4-FFF2-40B4-BE49-F238E27FC236}">
                  <a16:creationId xmlns:a16="http://schemas.microsoft.com/office/drawing/2014/main" id="{732BCFDC-1BF5-85D7-A4A5-FC5026FFD865}"/>
                </a:ext>
              </a:extLst>
            </p:cNvPr>
            <p:cNvSpPr/>
            <p:nvPr/>
          </p:nvSpPr>
          <p:spPr bwMode="auto">
            <a:xfrm>
              <a:off x="5252038" y="2883603"/>
              <a:ext cx="1783888" cy="1557259"/>
            </a:xfrm>
            <a:prstGeom prst="chevron">
              <a:avLst>
                <a:gd name="adj" fmla="val 22755"/>
              </a:avLst>
            </a:prstGeom>
            <a:solidFill>
              <a:srgbClr val="ECEDD1">
                <a:lumMod val="75000"/>
              </a:srgbClr>
            </a:solidFill>
            <a:ln w="9525" cap="flat" cmpd="sng" algn="ctr">
              <a:solidFill>
                <a:sysClr val="window" lastClr="FFFFFF"/>
              </a:solidFill>
              <a:prstDash val="solid"/>
              <a:round/>
              <a:headEnd type="none" w="med" len="med"/>
              <a:tailEnd type="none" w="med" len="med"/>
            </a:ln>
            <a:effectLst/>
          </p:spPr>
          <p:txBody>
            <a:bodyPr vert="vert270" anchor="ctr" anchorCtr="1"/>
            <a:lstStyle/>
            <a:p>
              <a:pPr algn="ctr" defTabSz="431322" hangingPunct="0">
                <a:lnSpc>
                  <a:spcPct val="93000"/>
                </a:lnSpc>
                <a:buClr>
                  <a:srgbClr val="000000"/>
                </a:buClr>
                <a:buSzPct val="100000"/>
                <a:defRPr/>
              </a:pPr>
              <a:r>
                <a:rPr lang="en-US" sz="1132" kern="0" dirty="0">
                  <a:latin typeface="Arial" charset="0"/>
                  <a:ea typeface="Arial Unicode MS" pitchFamily="34" charset="-128"/>
                  <a:cs typeface="Arial Unicode MS" charset="0"/>
                </a:rPr>
                <a:t>Manage Real Estate Land and Improvements</a:t>
              </a:r>
            </a:p>
          </p:txBody>
        </p:sp>
        <p:sp>
          <p:nvSpPr>
            <p:cNvPr id="29" name="Chevron 28">
              <a:extLst>
                <a:ext uri="{FF2B5EF4-FFF2-40B4-BE49-F238E27FC236}">
                  <a16:creationId xmlns:a16="http://schemas.microsoft.com/office/drawing/2014/main" id="{7D5F3283-742C-1B7D-30B2-97EC5782633B}"/>
                </a:ext>
              </a:extLst>
            </p:cNvPr>
            <p:cNvSpPr/>
            <p:nvPr/>
          </p:nvSpPr>
          <p:spPr bwMode="auto">
            <a:xfrm>
              <a:off x="6679457" y="2883603"/>
              <a:ext cx="1816008" cy="1557259"/>
            </a:xfrm>
            <a:prstGeom prst="chevron">
              <a:avLst>
                <a:gd name="adj" fmla="val 22755"/>
              </a:avLst>
            </a:prstGeom>
            <a:solidFill>
              <a:srgbClr val="B5AE53">
                <a:lumMod val="60000"/>
                <a:lumOff val="40000"/>
              </a:srgbClr>
            </a:solidFill>
            <a:ln w="9525" cap="flat" cmpd="sng" algn="ctr">
              <a:solidFill>
                <a:sysClr val="window" lastClr="FFFFFF"/>
              </a:solidFill>
              <a:prstDash val="solid"/>
              <a:round/>
              <a:headEnd type="none" w="med" len="med"/>
              <a:tailEnd type="none" w="med" len="med"/>
            </a:ln>
            <a:effectLst/>
          </p:spPr>
          <p:txBody>
            <a:bodyPr vert="vert270" anchor="ctr" anchorCtr="1"/>
            <a:lstStyle/>
            <a:p>
              <a:pPr algn="ctr" defTabSz="431322" hangingPunct="0">
                <a:lnSpc>
                  <a:spcPct val="93000"/>
                </a:lnSpc>
                <a:buClr>
                  <a:srgbClr val="000000"/>
                </a:buClr>
                <a:buSzPct val="100000"/>
                <a:defRPr/>
              </a:pPr>
              <a:r>
                <a:rPr lang="en-US" sz="1132" kern="0" dirty="0">
                  <a:latin typeface="Arial" charset="0"/>
                  <a:ea typeface="Arial Unicode MS" pitchFamily="34" charset="-128"/>
                  <a:cs typeface="Arial Unicode MS" charset="0"/>
                </a:rPr>
                <a:t>Maintain Facilities</a:t>
              </a:r>
            </a:p>
          </p:txBody>
        </p:sp>
        <p:sp>
          <p:nvSpPr>
            <p:cNvPr id="30" name="Chevron 29">
              <a:extLst>
                <a:ext uri="{FF2B5EF4-FFF2-40B4-BE49-F238E27FC236}">
                  <a16:creationId xmlns:a16="http://schemas.microsoft.com/office/drawing/2014/main" id="{E86F0A93-9291-4F00-B424-AD8E789E359E}"/>
                </a:ext>
              </a:extLst>
            </p:cNvPr>
            <p:cNvSpPr/>
            <p:nvPr/>
          </p:nvSpPr>
          <p:spPr bwMode="auto">
            <a:xfrm>
              <a:off x="8138995" y="2883603"/>
              <a:ext cx="1813879" cy="1557259"/>
            </a:xfrm>
            <a:prstGeom prst="chevron">
              <a:avLst>
                <a:gd name="adj" fmla="val 22755"/>
              </a:avLst>
            </a:prstGeom>
            <a:solidFill>
              <a:srgbClr val="CF543F">
                <a:lumMod val="60000"/>
                <a:lumOff val="40000"/>
              </a:srgbClr>
            </a:solidFill>
            <a:ln w="9525" cap="flat" cmpd="sng" algn="ctr">
              <a:solidFill>
                <a:sysClr val="window" lastClr="FFFFFF"/>
              </a:solidFill>
              <a:prstDash val="solid"/>
              <a:round/>
              <a:headEnd type="none" w="med" len="med"/>
              <a:tailEnd type="none" w="med" len="med"/>
            </a:ln>
            <a:effectLst/>
          </p:spPr>
          <p:txBody>
            <a:bodyPr vert="vert270" anchor="ctr" anchorCtr="1"/>
            <a:lstStyle/>
            <a:p>
              <a:pPr algn="ctr" defTabSz="431322" hangingPunct="0">
                <a:lnSpc>
                  <a:spcPct val="93000"/>
                </a:lnSpc>
                <a:buClr>
                  <a:srgbClr val="000000"/>
                </a:buClr>
                <a:buSzPct val="100000"/>
                <a:defRPr/>
              </a:pPr>
              <a:r>
                <a:rPr lang="en-US" sz="1132" kern="0" dirty="0">
                  <a:latin typeface="Arial" charset="0"/>
                  <a:ea typeface="Arial Unicode MS" pitchFamily="34" charset="-128"/>
                  <a:cs typeface="Arial Unicode MS" charset="0"/>
                </a:rPr>
                <a:t> Manage Disposal</a:t>
              </a:r>
            </a:p>
          </p:txBody>
        </p:sp>
        <p:sp>
          <p:nvSpPr>
            <p:cNvPr id="31" name="Chevron 30">
              <a:extLst>
                <a:ext uri="{FF2B5EF4-FFF2-40B4-BE49-F238E27FC236}">
                  <a16:creationId xmlns:a16="http://schemas.microsoft.com/office/drawing/2014/main" id="{3FDB91A8-BD45-E9BF-E25C-3017C27BBE6B}"/>
                </a:ext>
              </a:extLst>
            </p:cNvPr>
            <p:cNvSpPr/>
            <p:nvPr/>
          </p:nvSpPr>
          <p:spPr bwMode="auto">
            <a:xfrm>
              <a:off x="2413631" y="2445780"/>
              <a:ext cx="7529751" cy="384056"/>
            </a:xfrm>
            <a:prstGeom prst="chevron">
              <a:avLst>
                <a:gd name="adj" fmla="val 74020"/>
              </a:avLst>
            </a:prstGeom>
            <a:solidFill>
              <a:srgbClr val="786C71">
                <a:lumMod val="60000"/>
                <a:lumOff val="40000"/>
              </a:srgbClr>
            </a:solidFill>
            <a:ln w="9525" cap="flat" cmpd="sng" algn="ctr">
              <a:solidFill>
                <a:sysClr val="window" lastClr="FFFFFF"/>
              </a:solidFill>
              <a:prstDash val="solid"/>
              <a:round/>
              <a:headEnd type="none" w="med" len="med"/>
              <a:tailEnd type="none" w="med" len="med"/>
            </a:ln>
            <a:effectLst/>
          </p:spPr>
          <p:txBody>
            <a:bodyPr anchor="ctr" anchorCtr="1"/>
            <a:lstStyle/>
            <a:p>
              <a:pPr algn="ctr" defTabSz="431322" hangingPunct="0">
                <a:lnSpc>
                  <a:spcPct val="93000"/>
                </a:lnSpc>
                <a:buClr>
                  <a:srgbClr val="000000"/>
                </a:buClr>
                <a:buSzPct val="100000"/>
                <a:defRPr/>
              </a:pPr>
              <a:r>
                <a:rPr lang="en-US" sz="1132" kern="0" dirty="0">
                  <a:latin typeface="Arial" charset="0"/>
                  <a:ea typeface="Arial Unicode MS" pitchFamily="34" charset="-128"/>
                  <a:cs typeface="Arial Unicode MS" charset="0"/>
                </a:rPr>
                <a:t>Manage Immovable Asset Portfolio</a:t>
              </a:r>
            </a:p>
          </p:txBody>
        </p:sp>
        <p:sp>
          <p:nvSpPr>
            <p:cNvPr id="49184" name="TextBox 31">
              <a:extLst>
                <a:ext uri="{FF2B5EF4-FFF2-40B4-BE49-F238E27FC236}">
                  <a16:creationId xmlns:a16="http://schemas.microsoft.com/office/drawing/2014/main" id="{37FC9DBF-720F-9BE9-A85E-9E8CB45283C4}"/>
                </a:ext>
              </a:extLst>
            </p:cNvPr>
            <p:cNvSpPr txBox="1">
              <a:spLocks noChangeArrowheads="1"/>
            </p:cNvSpPr>
            <p:nvPr/>
          </p:nvSpPr>
          <p:spPr bwMode="auto">
            <a:xfrm rot="16200000">
              <a:off x="747256" y="3446770"/>
              <a:ext cx="3085752" cy="43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r>
                <a:rPr lang="en-US" altLang="en-US" sz="1132" b="1">
                  <a:latin typeface="Century Gothic" panose="020B0502020202020204" pitchFamily="34" charset="0"/>
                </a:rPr>
                <a:t>PMTE Value Chain Activities</a:t>
              </a:r>
            </a:p>
          </p:txBody>
        </p:sp>
        <p:sp>
          <p:nvSpPr>
            <p:cNvPr id="34" name="Rectangle 33">
              <a:extLst>
                <a:ext uri="{FF2B5EF4-FFF2-40B4-BE49-F238E27FC236}">
                  <a16:creationId xmlns:a16="http://schemas.microsoft.com/office/drawing/2014/main" id="{92C3B028-AC52-048C-E9B7-A696D8809A46}"/>
                </a:ext>
              </a:extLst>
            </p:cNvPr>
            <p:cNvSpPr/>
            <p:nvPr/>
          </p:nvSpPr>
          <p:spPr bwMode="auto">
            <a:xfrm>
              <a:off x="2413632" y="4534198"/>
              <a:ext cx="7510382" cy="387596"/>
            </a:xfrm>
            <a:prstGeom prst="rect">
              <a:avLst/>
            </a:prstGeom>
            <a:solidFill>
              <a:srgbClr val="8095B6">
                <a:lumMod val="60000"/>
                <a:lumOff val="40000"/>
              </a:srgbClr>
            </a:solidFill>
            <a:ln w="12700" cap="flat" cmpd="sng" algn="ctr">
              <a:noFill/>
              <a:prstDash val="solid"/>
              <a:miter lim="800000"/>
            </a:ln>
            <a:effectLst/>
          </p:spPr>
          <p:txBody>
            <a:bodyPr anchor="ctr"/>
            <a:lstStyle/>
            <a:p>
              <a:pPr algn="ctr" defTabSz="431322" eaLnBrk="0" hangingPunct="0">
                <a:defRPr/>
              </a:pPr>
              <a:r>
                <a:rPr lang="en-ZA" sz="1132" kern="0" dirty="0">
                  <a:latin typeface="Arial"/>
                </a:rPr>
                <a:t>Manage Supply Chain</a:t>
              </a:r>
            </a:p>
          </p:txBody>
        </p:sp>
        <p:sp>
          <p:nvSpPr>
            <p:cNvPr id="35" name="Rectangle 34">
              <a:extLst>
                <a:ext uri="{FF2B5EF4-FFF2-40B4-BE49-F238E27FC236}">
                  <a16:creationId xmlns:a16="http://schemas.microsoft.com/office/drawing/2014/main" id="{5B707A88-D672-AE58-5E66-0CD1A63D0E6D}"/>
                </a:ext>
              </a:extLst>
            </p:cNvPr>
            <p:cNvSpPr/>
            <p:nvPr/>
          </p:nvSpPr>
          <p:spPr bwMode="auto">
            <a:xfrm>
              <a:off x="2413630" y="4976659"/>
              <a:ext cx="7507961" cy="378747"/>
            </a:xfrm>
            <a:prstGeom prst="rect">
              <a:avLst/>
            </a:prstGeom>
            <a:solidFill>
              <a:srgbClr val="CF543F">
                <a:lumMod val="60000"/>
                <a:lumOff val="40000"/>
              </a:srgbClr>
            </a:solidFill>
            <a:ln w="12700" cap="flat" cmpd="sng" algn="ctr">
              <a:noFill/>
              <a:prstDash val="solid"/>
              <a:miter lim="800000"/>
            </a:ln>
            <a:effectLst/>
          </p:spPr>
          <p:txBody>
            <a:bodyPr anchor="ctr"/>
            <a:lstStyle/>
            <a:p>
              <a:pPr algn="ctr" defTabSz="431322" eaLnBrk="0" hangingPunct="0">
                <a:defRPr/>
              </a:pPr>
              <a:r>
                <a:rPr lang="en-ZA" sz="1132" kern="0" dirty="0">
                  <a:latin typeface="Arial"/>
                </a:rPr>
                <a:t>Manage Finance</a:t>
              </a:r>
            </a:p>
          </p:txBody>
        </p:sp>
        <p:sp>
          <p:nvSpPr>
            <p:cNvPr id="36" name="Chevron 35">
              <a:extLst>
                <a:ext uri="{FF2B5EF4-FFF2-40B4-BE49-F238E27FC236}">
                  <a16:creationId xmlns:a16="http://schemas.microsoft.com/office/drawing/2014/main" id="{59DF5221-2BFD-6001-559C-1ED38DCCAC34}"/>
                </a:ext>
              </a:extLst>
            </p:cNvPr>
            <p:cNvSpPr/>
            <p:nvPr/>
          </p:nvSpPr>
          <p:spPr bwMode="auto">
            <a:xfrm>
              <a:off x="2420894" y="2003317"/>
              <a:ext cx="7532171" cy="384056"/>
            </a:xfrm>
            <a:prstGeom prst="chevron">
              <a:avLst>
                <a:gd name="adj" fmla="val 74020"/>
              </a:avLst>
            </a:prstGeom>
            <a:solidFill>
              <a:srgbClr val="8095B6">
                <a:lumMod val="60000"/>
                <a:lumOff val="40000"/>
              </a:srgbClr>
            </a:solidFill>
            <a:ln w="9525" cap="flat" cmpd="sng" algn="ctr">
              <a:solidFill>
                <a:sysClr val="window" lastClr="FFFFFF"/>
              </a:solidFill>
              <a:prstDash val="solid"/>
              <a:round/>
              <a:headEnd type="none" w="med" len="med"/>
              <a:tailEnd type="none" w="med" len="med"/>
            </a:ln>
            <a:effectLst/>
          </p:spPr>
          <p:txBody>
            <a:bodyPr anchor="ctr" anchorCtr="1"/>
            <a:lstStyle/>
            <a:p>
              <a:pPr defTabSz="431322" hangingPunct="0">
                <a:lnSpc>
                  <a:spcPct val="93000"/>
                </a:lnSpc>
                <a:buClr>
                  <a:srgbClr val="000000"/>
                </a:buClr>
                <a:buSzPct val="100000"/>
                <a:defRPr/>
              </a:pPr>
              <a:r>
                <a:rPr lang="en-US" sz="1132" kern="0" dirty="0">
                  <a:latin typeface="Arial" charset="0"/>
                  <a:ea typeface="Arial Unicode MS" pitchFamily="34" charset="-128"/>
                  <a:cs typeface="Arial Unicode MS" charset="0"/>
                </a:rPr>
                <a:t>Manage Immovable Asset Register</a:t>
              </a:r>
            </a:p>
          </p:txBody>
        </p:sp>
      </p:grpSp>
      <p:sp>
        <p:nvSpPr>
          <p:cNvPr id="43" name="6-Point Star 42">
            <a:extLst>
              <a:ext uri="{FF2B5EF4-FFF2-40B4-BE49-F238E27FC236}">
                <a16:creationId xmlns:a16="http://schemas.microsoft.com/office/drawing/2014/main" id="{0F37F6F1-278B-1B5A-24ED-9C94128D90E7}"/>
              </a:ext>
            </a:extLst>
          </p:cNvPr>
          <p:cNvSpPr/>
          <p:nvPr/>
        </p:nvSpPr>
        <p:spPr>
          <a:xfrm>
            <a:off x="2558658" y="4318577"/>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44" name="6-Point Star 43">
            <a:extLst>
              <a:ext uri="{FF2B5EF4-FFF2-40B4-BE49-F238E27FC236}">
                <a16:creationId xmlns:a16="http://schemas.microsoft.com/office/drawing/2014/main" id="{1EC8944D-288F-FB0F-CA36-262767710C56}"/>
              </a:ext>
            </a:extLst>
          </p:cNvPr>
          <p:cNvSpPr/>
          <p:nvPr/>
        </p:nvSpPr>
        <p:spPr>
          <a:xfrm>
            <a:off x="1308158" y="5092839"/>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45" name="6-Point Star 44">
            <a:extLst>
              <a:ext uri="{FF2B5EF4-FFF2-40B4-BE49-F238E27FC236}">
                <a16:creationId xmlns:a16="http://schemas.microsoft.com/office/drawing/2014/main" id="{89A78905-77A3-70DB-34A8-96C3F2D35678}"/>
              </a:ext>
            </a:extLst>
          </p:cNvPr>
          <p:cNvSpPr/>
          <p:nvPr/>
        </p:nvSpPr>
        <p:spPr>
          <a:xfrm>
            <a:off x="2564648" y="2485509"/>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46" name="6-Point Star 45">
            <a:extLst>
              <a:ext uri="{FF2B5EF4-FFF2-40B4-BE49-F238E27FC236}">
                <a16:creationId xmlns:a16="http://schemas.microsoft.com/office/drawing/2014/main" id="{4464FEE0-54E5-A26B-1730-3A70CF388298}"/>
              </a:ext>
            </a:extLst>
          </p:cNvPr>
          <p:cNvSpPr/>
          <p:nvPr/>
        </p:nvSpPr>
        <p:spPr>
          <a:xfrm>
            <a:off x="1308158" y="5357915"/>
            <a:ext cx="215655" cy="215655"/>
          </a:xfrm>
          <a:prstGeom prst="star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47" name="6-Point Star 46">
            <a:extLst>
              <a:ext uri="{FF2B5EF4-FFF2-40B4-BE49-F238E27FC236}">
                <a16:creationId xmlns:a16="http://schemas.microsoft.com/office/drawing/2014/main" id="{FBD917B2-A7D2-70F6-9E74-AD0C9D9F6EB9}"/>
              </a:ext>
            </a:extLst>
          </p:cNvPr>
          <p:cNvSpPr/>
          <p:nvPr/>
        </p:nvSpPr>
        <p:spPr>
          <a:xfrm>
            <a:off x="2456821" y="3402043"/>
            <a:ext cx="215655" cy="215655"/>
          </a:xfrm>
          <a:prstGeom prst="star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48" name="6-Point Star 47">
            <a:extLst>
              <a:ext uri="{FF2B5EF4-FFF2-40B4-BE49-F238E27FC236}">
                <a16:creationId xmlns:a16="http://schemas.microsoft.com/office/drawing/2014/main" id="{E02D7F5C-3B9C-DF2C-7F4B-4CCF85DA9F08}"/>
              </a:ext>
            </a:extLst>
          </p:cNvPr>
          <p:cNvSpPr/>
          <p:nvPr/>
        </p:nvSpPr>
        <p:spPr>
          <a:xfrm>
            <a:off x="2706921" y="3402043"/>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49" name="6-Point Star 48">
            <a:extLst>
              <a:ext uri="{FF2B5EF4-FFF2-40B4-BE49-F238E27FC236}">
                <a16:creationId xmlns:a16="http://schemas.microsoft.com/office/drawing/2014/main" id="{A13D2937-99C3-BEE7-F64E-C847E7914887}"/>
              </a:ext>
            </a:extLst>
          </p:cNvPr>
          <p:cNvSpPr/>
          <p:nvPr/>
        </p:nvSpPr>
        <p:spPr>
          <a:xfrm>
            <a:off x="2241165" y="5127284"/>
            <a:ext cx="215655" cy="215655"/>
          </a:xfrm>
          <a:prstGeom prst="star6">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53" name="6-Point Star 52">
            <a:extLst>
              <a:ext uri="{FF2B5EF4-FFF2-40B4-BE49-F238E27FC236}">
                <a16:creationId xmlns:a16="http://schemas.microsoft.com/office/drawing/2014/main" id="{84E4A46E-A479-F02F-E629-770A90D52180}"/>
              </a:ext>
            </a:extLst>
          </p:cNvPr>
          <p:cNvSpPr/>
          <p:nvPr/>
        </p:nvSpPr>
        <p:spPr>
          <a:xfrm>
            <a:off x="1636133" y="5250087"/>
            <a:ext cx="215655" cy="215655"/>
          </a:xfrm>
          <a:prstGeom prst="star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54" name="6-Point Star 53">
            <a:extLst>
              <a:ext uri="{FF2B5EF4-FFF2-40B4-BE49-F238E27FC236}">
                <a16:creationId xmlns:a16="http://schemas.microsoft.com/office/drawing/2014/main" id="{CF85FC76-D331-2C22-05DD-4DD3E6F75BB4}"/>
              </a:ext>
            </a:extLst>
          </p:cNvPr>
          <p:cNvSpPr/>
          <p:nvPr/>
        </p:nvSpPr>
        <p:spPr>
          <a:xfrm>
            <a:off x="2741365" y="5085351"/>
            <a:ext cx="215655" cy="215655"/>
          </a:xfrm>
          <a:prstGeom prst="star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56" name="6-Point Star 55">
            <a:extLst>
              <a:ext uri="{FF2B5EF4-FFF2-40B4-BE49-F238E27FC236}">
                <a16:creationId xmlns:a16="http://schemas.microsoft.com/office/drawing/2014/main" id="{C637F98E-2368-FE7B-F94D-41A94CEB027A}"/>
              </a:ext>
            </a:extLst>
          </p:cNvPr>
          <p:cNvSpPr/>
          <p:nvPr/>
        </p:nvSpPr>
        <p:spPr>
          <a:xfrm>
            <a:off x="2976490" y="4746892"/>
            <a:ext cx="215655" cy="215655"/>
          </a:xfrm>
          <a:prstGeom prst="star6">
            <a:avLst/>
          </a:prstGeom>
          <a:solidFill>
            <a:srgbClr val="9933FF"/>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57" name="6-Point Star 56">
            <a:extLst>
              <a:ext uri="{FF2B5EF4-FFF2-40B4-BE49-F238E27FC236}">
                <a16:creationId xmlns:a16="http://schemas.microsoft.com/office/drawing/2014/main" id="{594230E9-33CD-227A-3DD7-ADF0480FE3FA}"/>
              </a:ext>
            </a:extLst>
          </p:cNvPr>
          <p:cNvSpPr/>
          <p:nvPr/>
        </p:nvSpPr>
        <p:spPr>
          <a:xfrm>
            <a:off x="1636133" y="5494197"/>
            <a:ext cx="215655" cy="215655"/>
          </a:xfrm>
          <a:prstGeom prst="star6">
            <a:avLst/>
          </a:prstGeom>
          <a:solidFill>
            <a:srgbClr val="9933FF"/>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58" name="6-Point Star 57">
            <a:extLst>
              <a:ext uri="{FF2B5EF4-FFF2-40B4-BE49-F238E27FC236}">
                <a16:creationId xmlns:a16="http://schemas.microsoft.com/office/drawing/2014/main" id="{99432633-5292-863E-CE3A-05EA2F9B222C}"/>
              </a:ext>
            </a:extLst>
          </p:cNvPr>
          <p:cNvSpPr/>
          <p:nvPr/>
        </p:nvSpPr>
        <p:spPr>
          <a:xfrm>
            <a:off x="1315646" y="5614006"/>
            <a:ext cx="215655" cy="215655"/>
          </a:xfrm>
          <a:prstGeom prst="star6">
            <a:avLst/>
          </a:prstGeom>
          <a:solidFill>
            <a:srgbClr val="9933FF"/>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59" name="6-Point Star 58">
            <a:extLst>
              <a:ext uri="{FF2B5EF4-FFF2-40B4-BE49-F238E27FC236}">
                <a16:creationId xmlns:a16="http://schemas.microsoft.com/office/drawing/2014/main" id="{BDD5CFD1-6A0D-F015-116D-911DFB804EAE}"/>
              </a:ext>
            </a:extLst>
          </p:cNvPr>
          <p:cNvSpPr/>
          <p:nvPr/>
        </p:nvSpPr>
        <p:spPr>
          <a:xfrm>
            <a:off x="1308158" y="5891062"/>
            <a:ext cx="215655" cy="215655"/>
          </a:xfrm>
          <a:prstGeom prst="star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60" name="6-Point Star 59">
            <a:extLst>
              <a:ext uri="{FF2B5EF4-FFF2-40B4-BE49-F238E27FC236}">
                <a16:creationId xmlns:a16="http://schemas.microsoft.com/office/drawing/2014/main" id="{B325ED5C-7B0F-C587-E14B-754F6D43C13A}"/>
              </a:ext>
            </a:extLst>
          </p:cNvPr>
          <p:cNvSpPr/>
          <p:nvPr/>
        </p:nvSpPr>
        <p:spPr>
          <a:xfrm>
            <a:off x="2599093" y="6037827"/>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
        <p:nvSpPr>
          <p:cNvPr id="37" name="Rectangle 36">
            <a:extLst>
              <a:ext uri="{FF2B5EF4-FFF2-40B4-BE49-F238E27FC236}">
                <a16:creationId xmlns:a16="http://schemas.microsoft.com/office/drawing/2014/main" id="{DA4571DA-FE49-A90D-A99B-D92F5AD76C7A}"/>
              </a:ext>
            </a:extLst>
          </p:cNvPr>
          <p:cNvSpPr/>
          <p:nvPr/>
        </p:nvSpPr>
        <p:spPr>
          <a:xfrm>
            <a:off x="5622757" y="4591141"/>
            <a:ext cx="1325381" cy="539138"/>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464" tIns="34232" rIns="68464" bIns="34232" anchor="ctr"/>
          <a:lstStyle/>
          <a:p>
            <a:pPr algn="ctr" defTabSz="684681" eaLnBrk="0" hangingPunct="0">
              <a:defRPr/>
            </a:pPr>
            <a:endParaRPr lang="en-US" sz="1348">
              <a:solidFill>
                <a:prstClr val="white"/>
              </a:solidFill>
              <a:latin typeface="Century Gothic"/>
            </a:endParaRPr>
          </a:p>
        </p:txBody>
      </p:sp>
    </p:spTree>
    <p:extLst>
      <p:ext uri="{BB962C8B-B14F-4D97-AF65-F5344CB8AC3E}">
        <p14:creationId xmlns:p14="http://schemas.microsoft.com/office/powerpoint/2010/main" val="3008448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5">
            <a:extLst>
              <a:ext uri="{FF2B5EF4-FFF2-40B4-BE49-F238E27FC236}">
                <a16:creationId xmlns:a16="http://schemas.microsoft.com/office/drawing/2014/main" id="{FFB2C9C8-CB3A-95B1-DC7C-D5524BACEF8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95898" y="1595933"/>
            <a:ext cx="2749602" cy="499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A2A6F33D-2934-785F-41F4-B9481C3E8A90}"/>
              </a:ext>
            </a:extLst>
          </p:cNvPr>
          <p:cNvSpPr>
            <a:spLocks noGrp="1"/>
          </p:cNvSpPr>
          <p:nvPr>
            <p:ph type="title"/>
          </p:nvPr>
        </p:nvSpPr>
        <p:spPr>
          <a:xfrm>
            <a:off x="2083917" y="436786"/>
            <a:ext cx="8433012" cy="1006390"/>
          </a:xfrm>
        </p:spPr>
        <p:txBody>
          <a:bodyPr>
            <a:normAutofit/>
          </a:bodyPr>
          <a:lstStyle/>
          <a:p>
            <a:pPr>
              <a:defRPr/>
            </a:pPr>
            <a:r>
              <a:rPr lang="en-US" sz="2396" b="1" dirty="0"/>
              <a:t>SAGE VALUE CHAIN </a:t>
            </a:r>
            <a:r>
              <a:rPr lang="en-US" sz="2396" dirty="0"/>
              <a:t/>
            </a:r>
            <a:br>
              <a:rPr lang="en-US" sz="2396" dirty="0"/>
            </a:br>
            <a:r>
              <a:rPr lang="en-US" sz="2396" b="1" dirty="0"/>
              <a:t>process integration</a:t>
            </a:r>
          </a:p>
        </p:txBody>
      </p:sp>
      <p:sp>
        <p:nvSpPr>
          <p:cNvPr id="48" name="6-Point Star 47">
            <a:extLst>
              <a:ext uri="{FF2B5EF4-FFF2-40B4-BE49-F238E27FC236}">
                <a16:creationId xmlns:a16="http://schemas.microsoft.com/office/drawing/2014/main" id="{96402B7B-4AF0-3FEC-4969-52F2837E8BDE}"/>
              </a:ext>
            </a:extLst>
          </p:cNvPr>
          <p:cNvSpPr/>
          <p:nvPr/>
        </p:nvSpPr>
        <p:spPr>
          <a:xfrm>
            <a:off x="3466206" y="3499388"/>
            <a:ext cx="215655" cy="215655"/>
          </a:xfrm>
          <a:prstGeom prst="star6">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60" name="6-Point Star 59">
            <a:extLst>
              <a:ext uri="{FF2B5EF4-FFF2-40B4-BE49-F238E27FC236}">
                <a16:creationId xmlns:a16="http://schemas.microsoft.com/office/drawing/2014/main" id="{C6958E92-0501-D02B-E464-37D5A28BD7F8}"/>
              </a:ext>
            </a:extLst>
          </p:cNvPr>
          <p:cNvSpPr/>
          <p:nvPr/>
        </p:nvSpPr>
        <p:spPr>
          <a:xfrm>
            <a:off x="2308558" y="4700467"/>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pic>
        <p:nvPicPr>
          <p:cNvPr id="50182" name="Picture 3">
            <a:extLst>
              <a:ext uri="{FF2B5EF4-FFF2-40B4-BE49-F238E27FC236}">
                <a16:creationId xmlns:a16="http://schemas.microsoft.com/office/drawing/2014/main" id="{40B48B7C-A81C-057D-EEC7-A20CA35A3AC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17587" y="2485510"/>
            <a:ext cx="4597646" cy="2586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6-Point Star 23">
            <a:extLst>
              <a:ext uri="{FF2B5EF4-FFF2-40B4-BE49-F238E27FC236}">
                <a16:creationId xmlns:a16="http://schemas.microsoft.com/office/drawing/2014/main" id="{91FB75FA-49B5-F536-8581-5A55C093D321}"/>
              </a:ext>
            </a:extLst>
          </p:cNvPr>
          <p:cNvSpPr/>
          <p:nvPr/>
        </p:nvSpPr>
        <p:spPr>
          <a:xfrm>
            <a:off x="8845602" y="2485509"/>
            <a:ext cx="215655" cy="215655"/>
          </a:xfrm>
          <a:prstGeom prst="star6">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25" name="6-Point Star 24">
            <a:extLst>
              <a:ext uri="{FF2B5EF4-FFF2-40B4-BE49-F238E27FC236}">
                <a16:creationId xmlns:a16="http://schemas.microsoft.com/office/drawing/2014/main" id="{1CE7707D-5D66-CF2A-9D27-D3865934EB89}"/>
              </a:ext>
            </a:extLst>
          </p:cNvPr>
          <p:cNvSpPr/>
          <p:nvPr/>
        </p:nvSpPr>
        <p:spPr>
          <a:xfrm>
            <a:off x="6786396" y="2377682"/>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26" name="6-Point Star 25">
            <a:extLst>
              <a:ext uri="{FF2B5EF4-FFF2-40B4-BE49-F238E27FC236}">
                <a16:creationId xmlns:a16="http://schemas.microsoft.com/office/drawing/2014/main" id="{CA6F1BCB-7C4A-FEC5-C320-452B004F83B1}"/>
              </a:ext>
            </a:extLst>
          </p:cNvPr>
          <p:cNvSpPr/>
          <p:nvPr/>
        </p:nvSpPr>
        <p:spPr>
          <a:xfrm>
            <a:off x="3466206" y="4415922"/>
            <a:ext cx="215655" cy="215655"/>
          </a:xfrm>
          <a:prstGeom prst="star6">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27" name="6-Point Star 26">
            <a:extLst>
              <a:ext uri="{FF2B5EF4-FFF2-40B4-BE49-F238E27FC236}">
                <a16:creationId xmlns:a16="http://schemas.microsoft.com/office/drawing/2014/main" id="{421B89F3-C29C-CEF1-1DDA-CF261A6A88A6}"/>
              </a:ext>
            </a:extLst>
          </p:cNvPr>
          <p:cNvSpPr/>
          <p:nvPr/>
        </p:nvSpPr>
        <p:spPr>
          <a:xfrm>
            <a:off x="3389829" y="5224629"/>
            <a:ext cx="215655" cy="215655"/>
          </a:xfrm>
          <a:prstGeom prst="star6">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28" name="6-Point Star 27">
            <a:extLst>
              <a:ext uri="{FF2B5EF4-FFF2-40B4-BE49-F238E27FC236}">
                <a16:creationId xmlns:a16="http://schemas.microsoft.com/office/drawing/2014/main" id="{94FEB63D-E45C-B2A1-73EA-E6F1C15949FB}"/>
              </a:ext>
            </a:extLst>
          </p:cNvPr>
          <p:cNvSpPr/>
          <p:nvPr/>
        </p:nvSpPr>
        <p:spPr>
          <a:xfrm>
            <a:off x="3391326" y="6141163"/>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29" name="6-Point Star 28">
            <a:extLst>
              <a:ext uri="{FF2B5EF4-FFF2-40B4-BE49-F238E27FC236}">
                <a16:creationId xmlns:a16="http://schemas.microsoft.com/office/drawing/2014/main" id="{311B5329-7620-571C-F4E9-16B7EA8572CD}"/>
              </a:ext>
            </a:extLst>
          </p:cNvPr>
          <p:cNvSpPr/>
          <p:nvPr/>
        </p:nvSpPr>
        <p:spPr>
          <a:xfrm>
            <a:off x="4486075" y="5182696"/>
            <a:ext cx="215655" cy="215655"/>
          </a:xfrm>
          <a:prstGeom prst="star6">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30" name="6-Point Star 29">
            <a:extLst>
              <a:ext uri="{FF2B5EF4-FFF2-40B4-BE49-F238E27FC236}">
                <a16:creationId xmlns:a16="http://schemas.microsoft.com/office/drawing/2014/main" id="{B5DD3DCB-A5F3-8089-EDE4-1C24CBE6114D}"/>
              </a:ext>
            </a:extLst>
          </p:cNvPr>
          <p:cNvSpPr/>
          <p:nvPr/>
        </p:nvSpPr>
        <p:spPr>
          <a:xfrm>
            <a:off x="4475592" y="5441781"/>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31" name="6-Point Star 30">
            <a:extLst>
              <a:ext uri="{FF2B5EF4-FFF2-40B4-BE49-F238E27FC236}">
                <a16:creationId xmlns:a16="http://schemas.microsoft.com/office/drawing/2014/main" id="{28CE6386-755A-8105-C84A-8BADE145E9A5}"/>
              </a:ext>
            </a:extLst>
          </p:cNvPr>
          <p:cNvSpPr/>
          <p:nvPr/>
        </p:nvSpPr>
        <p:spPr>
          <a:xfrm>
            <a:off x="2615567" y="4812787"/>
            <a:ext cx="215655" cy="215655"/>
          </a:xfrm>
          <a:prstGeom prst="star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32" name="6-Point Star 31">
            <a:extLst>
              <a:ext uri="{FF2B5EF4-FFF2-40B4-BE49-F238E27FC236}">
                <a16:creationId xmlns:a16="http://schemas.microsoft.com/office/drawing/2014/main" id="{7A9CD399-73AB-CDB0-DA00-626F5D1DF7F3}"/>
              </a:ext>
            </a:extLst>
          </p:cNvPr>
          <p:cNvSpPr/>
          <p:nvPr/>
        </p:nvSpPr>
        <p:spPr>
          <a:xfrm>
            <a:off x="2605084" y="5071873"/>
            <a:ext cx="215655" cy="215655"/>
          </a:xfrm>
          <a:prstGeom prst="star6">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54" name="6-Point Star 53">
            <a:extLst>
              <a:ext uri="{FF2B5EF4-FFF2-40B4-BE49-F238E27FC236}">
                <a16:creationId xmlns:a16="http://schemas.microsoft.com/office/drawing/2014/main" id="{43D821F9-0664-55B2-B950-17B026F1FF0F}"/>
              </a:ext>
            </a:extLst>
          </p:cNvPr>
          <p:cNvSpPr/>
          <p:nvPr/>
        </p:nvSpPr>
        <p:spPr>
          <a:xfrm>
            <a:off x="6305665" y="4899648"/>
            <a:ext cx="215655" cy="215655"/>
          </a:xfrm>
          <a:prstGeom prst="star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
        <p:nvSpPr>
          <p:cNvPr id="34" name="6-Point Star 33">
            <a:extLst>
              <a:ext uri="{FF2B5EF4-FFF2-40B4-BE49-F238E27FC236}">
                <a16:creationId xmlns:a16="http://schemas.microsoft.com/office/drawing/2014/main" id="{BD955D06-9DD5-67A4-1260-F6051595380D}"/>
              </a:ext>
            </a:extLst>
          </p:cNvPr>
          <p:cNvSpPr/>
          <p:nvPr/>
        </p:nvSpPr>
        <p:spPr>
          <a:xfrm>
            <a:off x="2615567" y="5312987"/>
            <a:ext cx="215655" cy="215655"/>
          </a:xfrm>
          <a:prstGeom prst="star6">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48"/>
          </a:p>
        </p:txBody>
      </p:sp>
    </p:spTree>
    <p:extLst>
      <p:ext uri="{BB962C8B-B14F-4D97-AF65-F5344CB8AC3E}">
        <p14:creationId xmlns:p14="http://schemas.microsoft.com/office/powerpoint/2010/main" val="455256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extBox 45">
            <a:extLst>
              <a:ext uri="{FF2B5EF4-FFF2-40B4-BE49-F238E27FC236}">
                <a16:creationId xmlns:a16="http://schemas.microsoft.com/office/drawing/2014/main" id="{C142B04F-B5E0-9841-945C-EA65AF0D0CDC}"/>
              </a:ext>
            </a:extLst>
          </p:cNvPr>
          <p:cNvSpPr txBox="1">
            <a:spLocks noChangeArrowheads="1"/>
          </p:cNvSpPr>
          <p:nvPr/>
        </p:nvSpPr>
        <p:spPr bwMode="auto">
          <a:xfrm>
            <a:off x="9869965" y="194174"/>
            <a:ext cx="1602437" cy="35362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endParaRPr lang="en-US" altLang="en-US" sz="1698"/>
          </a:p>
        </p:txBody>
      </p:sp>
      <p:sp>
        <p:nvSpPr>
          <p:cNvPr id="48131" name="Text Placeholder 3">
            <a:extLst>
              <a:ext uri="{FF2B5EF4-FFF2-40B4-BE49-F238E27FC236}">
                <a16:creationId xmlns:a16="http://schemas.microsoft.com/office/drawing/2014/main" id="{F7713F1D-E2F3-FE7C-A95F-8415DE0E5548}"/>
              </a:ext>
            </a:extLst>
          </p:cNvPr>
          <p:cNvSpPr txBox="1">
            <a:spLocks/>
          </p:cNvSpPr>
          <p:nvPr/>
        </p:nvSpPr>
        <p:spPr bwMode="auto">
          <a:xfrm>
            <a:off x="2178268" y="333453"/>
            <a:ext cx="8385089" cy="378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a:spcBef>
                <a:spcPct val="20000"/>
              </a:spcBef>
              <a:buFont typeface="Arial" panose="020B0604020202020204" pitchFamily="34" charset="0"/>
              <a:buNone/>
            </a:pPr>
            <a:r>
              <a:rPr lang="en-US" altLang="en-US" sz="3396"/>
              <a:t>BUSINESS PROCESS AND ALIGNMENT TO ARCHIBUS</a:t>
            </a:r>
          </a:p>
        </p:txBody>
      </p:sp>
      <p:grpSp>
        <p:nvGrpSpPr>
          <p:cNvPr id="48132" name="Group 10">
            <a:extLst>
              <a:ext uri="{FF2B5EF4-FFF2-40B4-BE49-F238E27FC236}">
                <a16:creationId xmlns:a16="http://schemas.microsoft.com/office/drawing/2014/main" id="{2EC343B6-C716-54E7-4FCD-21A182550B02}"/>
              </a:ext>
            </a:extLst>
          </p:cNvPr>
          <p:cNvGrpSpPr>
            <a:grpSpLocks/>
          </p:cNvGrpSpPr>
          <p:nvPr/>
        </p:nvGrpSpPr>
        <p:grpSpPr bwMode="auto">
          <a:xfrm>
            <a:off x="1537293" y="1540521"/>
            <a:ext cx="8930217" cy="4612623"/>
            <a:chOff x="249006" y="575965"/>
            <a:chExt cx="11927060" cy="6160126"/>
          </a:xfrm>
        </p:grpSpPr>
        <p:grpSp>
          <p:nvGrpSpPr>
            <p:cNvPr id="48134" name="Group 11">
              <a:extLst>
                <a:ext uri="{FF2B5EF4-FFF2-40B4-BE49-F238E27FC236}">
                  <a16:creationId xmlns:a16="http://schemas.microsoft.com/office/drawing/2014/main" id="{B3FB51EA-E06F-9950-0C04-DC57471811B0}"/>
                </a:ext>
              </a:extLst>
            </p:cNvPr>
            <p:cNvGrpSpPr>
              <a:grpSpLocks/>
            </p:cNvGrpSpPr>
            <p:nvPr/>
          </p:nvGrpSpPr>
          <p:grpSpPr bwMode="auto">
            <a:xfrm>
              <a:off x="249006" y="575965"/>
              <a:ext cx="11927060" cy="6160126"/>
              <a:chOff x="361653" y="554954"/>
              <a:chExt cx="8635790" cy="4862247"/>
            </a:xfrm>
          </p:grpSpPr>
          <p:graphicFrame>
            <p:nvGraphicFramePr>
              <p:cNvPr id="14" name="Diagram 13">
                <a:extLst>
                  <a:ext uri="{FF2B5EF4-FFF2-40B4-BE49-F238E27FC236}">
                    <a16:creationId xmlns:a16="http://schemas.microsoft.com/office/drawing/2014/main" id="{5654D84D-6CFB-4250-64F3-26EACAE0D098}"/>
                  </a:ext>
                </a:extLst>
              </p:cNvPr>
              <p:cNvGraphicFramePr/>
              <p:nvPr/>
            </p:nvGraphicFramePr>
            <p:xfrm>
              <a:off x="367132" y="554954"/>
              <a:ext cx="8628095" cy="26086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5" name="Rounded Rectangle 14">
                <a:extLst>
                  <a:ext uri="{FF2B5EF4-FFF2-40B4-BE49-F238E27FC236}">
                    <a16:creationId xmlns:a16="http://schemas.microsoft.com/office/drawing/2014/main" id="{538E22C8-7B5C-3F5A-C973-0A3DDF4D1773}"/>
                  </a:ext>
                </a:extLst>
              </p:cNvPr>
              <p:cNvSpPr/>
              <p:nvPr/>
            </p:nvSpPr>
            <p:spPr>
              <a:xfrm>
                <a:off x="367446" y="3346010"/>
                <a:ext cx="8627101" cy="410449"/>
              </a:xfrm>
              <a:prstGeom prst="roundRect">
                <a:avLst/>
              </a:prstGeom>
              <a:solidFill>
                <a:srgbClr val="009999"/>
              </a:solidFill>
              <a:ln>
                <a:noFill/>
              </a:ln>
              <a:effectLst/>
            </p:spPr>
            <p:txBody>
              <a:bodyPr lIns="51349" tIns="51349" rIns="51349" bIns="51349" spcCol="1270" anchor="ctr"/>
              <a:lstStyle/>
              <a:p>
                <a:pPr>
                  <a:defRPr/>
                </a:pPr>
                <a:r>
                  <a:rPr lang="en-US" sz="1797" b="1">
                    <a:solidFill>
                      <a:schemeClr val="bg1"/>
                    </a:solidFill>
                  </a:rPr>
                  <a:t>SAGE</a:t>
                </a:r>
                <a:endParaRPr lang="en-US" sz="1797" b="1" dirty="0">
                  <a:solidFill>
                    <a:schemeClr val="bg1"/>
                  </a:solidFill>
                </a:endParaRPr>
              </a:p>
            </p:txBody>
          </p:sp>
          <p:sp>
            <p:nvSpPr>
              <p:cNvPr id="16" name="Rounded Rectangle 15">
                <a:extLst>
                  <a:ext uri="{FF2B5EF4-FFF2-40B4-BE49-F238E27FC236}">
                    <a16:creationId xmlns:a16="http://schemas.microsoft.com/office/drawing/2014/main" id="{97842F04-3CE8-DB42-C372-BB2F8E6AAE54}"/>
                  </a:ext>
                </a:extLst>
              </p:cNvPr>
              <p:cNvSpPr/>
              <p:nvPr/>
            </p:nvSpPr>
            <p:spPr>
              <a:xfrm>
                <a:off x="368895" y="3900116"/>
                <a:ext cx="8628548" cy="410449"/>
              </a:xfrm>
              <a:prstGeom prst="roundRect">
                <a:avLst/>
              </a:prstGeom>
              <a:solidFill>
                <a:srgbClr val="0070C0"/>
              </a:solidFill>
              <a:ln>
                <a:noFill/>
              </a:ln>
              <a:effectLst/>
            </p:spPr>
            <p:txBody>
              <a:bodyPr lIns="51349" tIns="51349" rIns="51349" bIns="51349" spcCol="1270" anchor="ctr"/>
              <a:lstStyle/>
              <a:p>
                <a:pPr>
                  <a:defRPr/>
                </a:pPr>
                <a:r>
                  <a:rPr lang="en-US" sz="1348" b="1" dirty="0">
                    <a:solidFill>
                      <a:schemeClr val="bg1"/>
                    </a:solidFill>
                  </a:rPr>
                  <a:t>INFORMATION COMMUNICATION TECHNOLOGY (ICT)</a:t>
                </a:r>
              </a:p>
            </p:txBody>
          </p:sp>
          <p:sp>
            <p:nvSpPr>
              <p:cNvPr id="17" name="Rounded Rectangle 16">
                <a:extLst>
                  <a:ext uri="{FF2B5EF4-FFF2-40B4-BE49-F238E27FC236}">
                    <a16:creationId xmlns:a16="http://schemas.microsoft.com/office/drawing/2014/main" id="{171A71D6-E0D3-4E84-4C33-D54537BF1F2E}"/>
                  </a:ext>
                </a:extLst>
              </p:cNvPr>
              <p:cNvSpPr/>
              <p:nvPr/>
            </p:nvSpPr>
            <p:spPr>
              <a:xfrm>
                <a:off x="367446" y="4454224"/>
                <a:ext cx="8627101" cy="408870"/>
              </a:xfrm>
              <a:prstGeom prst="roundRect">
                <a:avLst/>
              </a:prstGeom>
              <a:solidFill>
                <a:srgbClr val="0070C0"/>
              </a:solidFill>
              <a:ln>
                <a:noFill/>
              </a:ln>
              <a:effectLst/>
            </p:spPr>
            <p:txBody>
              <a:bodyPr lIns="51349" tIns="51349" rIns="51349" bIns="51349" spcCol="1270" anchor="ctr"/>
              <a:lstStyle/>
              <a:p>
                <a:pPr>
                  <a:defRPr/>
                </a:pPr>
                <a:r>
                  <a:rPr lang="en-US" sz="1348" b="1" dirty="0">
                    <a:solidFill>
                      <a:schemeClr val="bg1"/>
                    </a:solidFill>
                  </a:rPr>
                  <a:t>Legal and Regulatory Framework (GRAP, IDMS, GIAMA, PFMA etc.)</a:t>
                </a:r>
              </a:p>
            </p:txBody>
          </p:sp>
          <p:sp>
            <p:nvSpPr>
              <p:cNvPr id="18" name="Rounded Rectangle 17">
                <a:extLst>
                  <a:ext uri="{FF2B5EF4-FFF2-40B4-BE49-F238E27FC236}">
                    <a16:creationId xmlns:a16="http://schemas.microsoft.com/office/drawing/2014/main" id="{868E5C12-6FC8-EB9E-C14B-05D9BC552DEF}"/>
                  </a:ext>
                </a:extLst>
              </p:cNvPr>
              <p:cNvSpPr/>
              <p:nvPr/>
            </p:nvSpPr>
            <p:spPr>
              <a:xfrm>
                <a:off x="361653" y="5006752"/>
                <a:ext cx="8628548" cy="410449"/>
              </a:xfrm>
              <a:prstGeom prst="roundRect">
                <a:avLst/>
              </a:prstGeom>
              <a:solidFill>
                <a:srgbClr val="0070C0"/>
              </a:solidFill>
              <a:ln>
                <a:noFill/>
              </a:ln>
              <a:effectLst/>
            </p:spPr>
            <p:txBody>
              <a:bodyPr lIns="51349" tIns="51349" rIns="51349" bIns="51349" spcCol="1270" anchor="ctr"/>
              <a:lstStyle/>
              <a:p>
                <a:pPr>
                  <a:defRPr/>
                </a:pPr>
                <a:r>
                  <a:rPr lang="en-US" sz="1348" b="1" dirty="0">
                    <a:solidFill>
                      <a:schemeClr val="bg1"/>
                    </a:solidFill>
                  </a:rPr>
                  <a:t>Risk Management and Quality Assurance</a:t>
                </a:r>
              </a:p>
            </p:txBody>
          </p:sp>
        </p:grpSp>
        <p:pic>
          <p:nvPicPr>
            <p:cNvPr id="48135" name="Picture 12">
              <a:extLst>
                <a:ext uri="{FF2B5EF4-FFF2-40B4-BE49-F238E27FC236}">
                  <a16:creationId xmlns:a16="http://schemas.microsoft.com/office/drawing/2014/main" id="{4B49C4D6-A3B1-F105-F610-0B60CEBC660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74931" y="4067555"/>
              <a:ext cx="1401135" cy="57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8133" name="TextBox 18">
            <a:extLst>
              <a:ext uri="{FF2B5EF4-FFF2-40B4-BE49-F238E27FC236}">
                <a16:creationId xmlns:a16="http://schemas.microsoft.com/office/drawing/2014/main" id="{2F55345A-4119-CFC1-2897-E1DC8D3C0618}"/>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34</a:t>
            </a:r>
            <a:endParaRPr lang="en-US" altLang="en-US" sz="1698" dirty="0"/>
          </a:p>
        </p:txBody>
      </p:sp>
    </p:spTree>
    <p:extLst>
      <p:ext uri="{BB962C8B-B14F-4D97-AF65-F5344CB8AC3E}">
        <p14:creationId xmlns:p14="http://schemas.microsoft.com/office/powerpoint/2010/main" val="22697506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a:extLst>
              <a:ext uri="{FF2B5EF4-FFF2-40B4-BE49-F238E27FC236}">
                <a16:creationId xmlns:a16="http://schemas.microsoft.com/office/drawing/2014/main" id="{841427D2-B159-D838-9B0A-926C60BAF5AA}"/>
              </a:ext>
            </a:extLst>
          </p:cNvPr>
          <p:cNvSpPr>
            <a:spLocks noGrp="1"/>
          </p:cNvSpPr>
          <p:nvPr>
            <p:ph type="title"/>
          </p:nvPr>
        </p:nvSpPr>
        <p:spPr bwMode="auto">
          <a:xfrm>
            <a:off x="1028105" y="2820974"/>
            <a:ext cx="9920134" cy="681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fontScale="90000"/>
          </a:bodyPr>
          <a:lstStyle/>
          <a:p>
            <a:r>
              <a:rPr lang="en-US" altLang="en-US" sz="3396" b="1" dirty="0">
                <a:solidFill>
                  <a:schemeClr val="tx1"/>
                </a:solidFill>
              </a:rPr>
              <a:t>ARCHIBUS MODULE CURRENTLY DEPLOYED AND FUNCTIONALITY AVAILABLE FOR BUSINESS USE.</a:t>
            </a:r>
          </a:p>
        </p:txBody>
      </p:sp>
      <p:sp>
        <p:nvSpPr>
          <p:cNvPr id="2" name="TextBox 1">
            <a:extLst>
              <a:ext uri="{FF2B5EF4-FFF2-40B4-BE49-F238E27FC236}">
                <a16:creationId xmlns:a16="http://schemas.microsoft.com/office/drawing/2014/main" id="{D1402558-C3C2-7D90-C7FF-2CBC405C3DDC}"/>
              </a:ext>
            </a:extLst>
          </p:cNvPr>
          <p:cNvSpPr txBox="1"/>
          <p:nvPr/>
        </p:nvSpPr>
        <p:spPr>
          <a:xfrm>
            <a:off x="620486" y="3706584"/>
            <a:ext cx="11168744" cy="923330"/>
          </a:xfrm>
          <a:prstGeom prst="rect">
            <a:avLst/>
          </a:prstGeom>
          <a:noFill/>
        </p:spPr>
        <p:txBody>
          <a:bodyPr wrap="square" rtlCol="0">
            <a:spAutoFit/>
          </a:bodyPr>
          <a:lstStyle/>
          <a:p>
            <a:pPr marL="285750" indent="-285750">
              <a:buFont typeface="Arial" panose="020B0604020202020204" pitchFamily="34" charset="0"/>
              <a:buChar char="•"/>
            </a:pPr>
            <a:r>
              <a:rPr lang="en-US" dirty="0"/>
              <a:t>Currently there are 3 modules that are live, namely: IAR, FM (Unscheduled Maintenance) and </a:t>
            </a:r>
            <a:r>
              <a:rPr lang="en-US" dirty="0" err="1"/>
              <a:t>LeaseIN</a:t>
            </a:r>
            <a:r>
              <a:rPr lang="en-US" dirty="0"/>
              <a:t> </a:t>
            </a:r>
          </a:p>
          <a:p>
            <a:pPr marL="285750" indent="-285750">
              <a:buFont typeface="Arial" panose="020B0604020202020204" pitchFamily="34" charset="0"/>
              <a:buChar char="•"/>
            </a:pPr>
            <a:r>
              <a:rPr lang="en-US" dirty="0"/>
              <a:t>High Level Dashboard  and functionality (Slide 36 – Slide 42)</a:t>
            </a:r>
          </a:p>
        </p:txBody>
      </p:sp>
    </p:spTree>
    <p:extLst>
      <p:ext uri="{BB962C8B-B14F-4D97-AF65-F5344CB8AC3E}">
        <p14:creationId xmlns:p14="http://schemas.microsoft.com/office/powerpoint/2010/main" val="73066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a:extLst>
              <a:ext uri="{FF2B5EF4-FFF2-40B4-BE49-F238E27FC236}">
                <a16:creationId xmlns:a16="http://schemas.microsoft.com/office/drawing/2014/main" id="{841427D2-B159-D838-9B0A-926C60BAF5AA}"/>
              </a:ext>
            </a:extLst>
          </p:cNvPr>
          <p:cNvSpPr>
            <a:spLocks noGrp="1"/>
          </p:cNvSpPr>
          <p:nvPr>
            <p:ph type="title"/>
          </p:nvPr>
        </p:nvSpPr>
        <p:spPr bwMode="auto">
          <a:xfrm>
            <a:off x="620486" y="371689"/>
            <a:ext cx="9920134" cy="681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r>
              <a:rPr lang="en-US" altLang="en-US" sz="3396" b="1" dirty="0">
                <a:solidFill>
                  <a:schemeClr val="tx1"/>
                </a:solidFill>
              </a:rPr>
              <a:t>ARCHIBUS MODULE STATUS – Dash board</a:t>
            </a:r>
          </a:p>
        </p:txBody>
      </p:sp>
      <p:pic>
        <p:nvPicPr>
          <p:cNvPr id="9" name="Picture 8">
            <a:extLst>
              <a:ext uri="{FF2B5EF4-FFF2-40B4-BE49-F238E27FC236}">
                <a16:creationId xmlns:a16="http://schemas.microsoft.com/office/drawing/2014/main" id="{6A2C548E-CECA-F514-464F-0F6D44BFF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9286" y="1497694"/>
            <a:ext cx="5110843" cy="4845486"/>
          </a:xfrm>
          <a:prstGeom prst="rect">
            <a:avLst/>
          </a:prstGeom>
        </p:spPr>
      </p:pic>
      <p:pic>
        <p:nvPicPr>
          <p:cNvPr id="1072" name="Picture 9"/>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71" name="Picture 10"/>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16"/>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9" name="Picture 17"/>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19"/>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7" name="Picture 20"/>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21"/>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5" name="Picture 22"/>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23"/>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3" name="Picture 24"/>
          <p:cNvPicPr>
            <a:picLocks noChangeAspect="1" noChangeArrowheads="1"/>
          </p:cNvPicPr>
          <p:nvPr/>
        </p:nvPicPr>
        <p:blipFill>
          <a:blip r:embed="rId4">
            <a:extLst>
              <a:ext uri="{28A0092B-C50C-407E-A947-70E740481C1C}">
                <a14:useLocalDpi xmlns:a14="http://schemas.microsoft.com/office/drawing/2010/main" val="0"/>
              </a:ext>
            </a:extLst>
          </a:blip>
          <a:srcRect l="29214" t="33636" r="53635" b="43230"/>
          <a:stretch>
            <a:fillRect/>
          </a:stretch>
        </p:blipFill>
        <p:spPr bwMode="auto">
          <a:xfrm>
            <a:off x="0" y="0"/>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25"/>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26"/>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27"/>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9" name="Picture 29"/>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0"/>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7" name="Picture 31"/>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5" name="Picture 33"/>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4"/>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3" name="Picture 35"/>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36"/>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37"/>
          <p:cNvPicPr>
            <a:picLocks noChangeAspect="1" noChangeArrowheads="1"/>
          </p:cNvPicPr>
          <p:nvPr/>
        </p:nvPicPr>
        <p:blipFill>
          <a:blip r:embed="rId4">
            <a:extLst>
              <a:ext uri="{28A0092B-C50C-407E-A947-70E740481C1C}">
                <a14:useLocalDpi xmlns:a14="http://schemas.microsoft.com/office/drawing/2010/main" val="0"/>
              </a:ext>
            </a:extLst>
          </a:blip>
          <a:srcRect l="29214" t="33636" r="53635" b="43230"/>
          <a:stretch>
            <a:fillRect/>
          </a:stretch>
        </p:blipFill>
        <p:spPr bwMode="auto">
          <a:xfrm>
            <a:off x="0" y="0"/>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39"/>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40"/>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41"/>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42"/>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43"/>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44"/>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45"/>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46"/>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47"/>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48"/>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49"/>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50"/>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51"/>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52"/>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53"/>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54"/>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55"/>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56"/>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57"/>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58"/>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59"/>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68"/>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80"/>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81"/>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82"/>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Picture 91"/>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23" name="Picture 99"/>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22" name="Picture 98"/>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21" name="Picture 97"/>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20" name="Picture 96"/>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9" name="Picture 95"/>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7" name="Picture 93"/>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5" name="Picture 91"/>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p:cNvPicPr>
            <a:picLocks noChangeAspect="1" noChangeArrowheads="1"/>
          </p:cNvPicPr>
          <p:nvPr/>
        </p:nvPicPr>
        <p:blipFill>
          <a:blip r:embed="rId4">
            <a:extLst>
              <a:ext uri="{28A0092B-C50C-407E-A947-70E740481C1C}">
                <a14:useLocalDpi xmlns:a14="http://schemas.microsoft.com/office/drawing/2010/main" val="0"/>
              </a:ext>
            </a:extLst>
          </a:blip>
          <a:srcRect l="29214" t="33636" r="53635" b="43230"/>
          <a:stretch>
            <a:fillRect/>
          </a:stretch>
        </p:blipFill>
        <p:spPr bwMode="auto">
          <a:xfrm>
            <a:off x="0" y="0"/>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3" name="Picture 89"/>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2" name="Picture 88"/>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1" name="Picture 87"/>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9" name="Picture 85"/>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7" name="Picture 83"/>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5" name="Picture 81"/>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3" name="Picture 79"/>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p:cNvPicPr>
            <a:picLocks noChangeAspect="1" noChangeArrowheads="1"/>
          </p:cNvPicPr>
          <p:nvPr/>
        </p:nvPicPr>
        <p:blipFill>
          <a:blip r:embed="rId4">
            <a:extLst>
              <a:ext uri="{28A0092B-C50C-407E-A947-70E740481C1C}">
                <a14:useLocalDpi xmlns:a14="http://schemas.microsoft.com/office/drawing/2010/main" val="0"/>
              </a:ext>
            </a:extLst>
          </a:blip>
          <a:srcRect l="29214" t="33636" r="53635" b="43230"/>
          <a:stretch>
            <a:fillRect/>
          </a:stretch>
        </p:blipFill>
        <p:spPr bwMode="auto">
          <a:xfrm>
            <a:off x="0" y="0"/>
            <a:ext cx="2540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1" name="Picture 77"/>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9" name="Picture 75"/>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8" name="Picture 74"/>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7" name="Picture 73"/>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6" name="Picture 72"/>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5" name="Picture 71"/>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3" name="Picture 69"/>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1" name="Picture 67"/>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9" name="Picture 65"/>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7" name="Picture 63"/>
          <p:cNvPicPr>
            <a:picLocks noChangeAspect="1" noChangeArrowheads="1"/>
          </p:cNvPicPr>
          <p:nvPr/>
        </p:nvPicPr>
        <p:blipFill>
          <a:blip r:embed="rId3">
            <a:extLst>
              <a:ext uri="{28A0092B-C50C-407E-A947-70E740481C1C}">
                <a14:useLocalDpi xmlns:a14="http://schemas.microsoft.com/office/drawing/2010/main" val="0"/>
              </a:ext>
            </a:extLst>
          </a:blip>
          <a:srcRect l="78372" t="33636" r="4279" b="42400"/>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62"/>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5" name="Picture 61"/>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3" name="Picture 59"/>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1" name="Picture 57"/>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79" name="Picture 55"/>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77" name="Picture 53"/>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p:cNvPicPr>
            <a:picLocks noChangeAspect="1" noChangeArrowheads="1"/>
          </p:cNvPicPr>
          <p:nvPr/>
        </p:nvPicPr>
        <p:blipFill>
          <a:blip r:embed="rId5">
            <a:extLst>
              <a:ext uri="{28A0092B-C50C-407E-A947-70E740481C1C}">
                <a14:useLocalDpi xmlns:a14="http://schemas.microsoft.com/office/drawing/2010/main" val="0"/>
              </a:ext>
            </a:extLst>
          </a:blip>
          <a:srcRect l="53844" t="33504" r="28906" b="43085"/>
          <a:stretch>
            <a:fillRect/>
          </a:stretch>
        </p:blipFill>
        <p:spPr bwMode="auto">
          <a:xfrm>
            <a:off x="0" y="0"/>
            <a:ext cx="241300" cy="25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37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4F07B-10E1-4743-BD80-BF38972AA8D0}"/>
              </a:ext>
            </a:extLst>
          </p:cNvPr>
          <p:cNvSpPr>
            <a:spLocks noGrp="1"/>
          </p:cNvSpPr>
          <p:nvPr>
            <p:ph type="title"/>
          </p:nvPr>
        </p:nvSpPr>
        <p:spPr>
          <a:xfrm>
            <a:off x="999629" y="344459"/>
            <a:ext cx="10515600" cy="722103"/>
          </a:xfrm>
        </p:spPr>
        <p:txBody>
          <a:bodyPr>
            <a:noAutofit/>
          </a:bodyPr>
          <a:lstStyle/>
          <a:p>
            <a:r>
              <a:rPr lang="en-US" sz="3600" dirty="0"/>
              <a:t> CURRENT MODULES – LIVE AS OF APRIL 2018</a:t>
            </a:r>
          </a:p>
        </p:txBody>
      </p:sp>
      <p:grpSp>
        <p:nvGrpSpPr>
          <p:cNvPr id="4" name="Group 3">
            <a:extLst>
              <a:ext uri="{FF2B5EF4-FFF2-40B4-BE49-F238E27FC236}">
                <a16:creationId xmlns:a16="http://schemas.microsoft.com/office/drawing/2014/main" id="{E793EF5B-4148-CF4E-9335-C323369C796E}"/>
              </a:ext>
            </a:extLst>
          </p:cNvPr>
          <p:cNvGrpSpPr/>
          <p:nvPr/>
        </p:nvGrpSpPr>
        <p:grpSpPr>
          <a:xfrm>
            <a:off x="5135762" y="1041071"/>
            <a:ext cx="2101613" cy="1315314"/>
            <a:chOff x="3718254" y="1211012"/>
            <a:chExt cx="2644908" cy="2228154"/>
          </a:xfrm>
        </p:grpSpPr>
        <p:pic>
          <p:nvPicPr>
            <p:cNvPr id="5" name="Picture 3">
              <a:extLst>
                <a:ext uri="{FF2B5EF4-FFF2-40B4-BE49-F238E27FC236}">
                  <a16:creationId xmlns:a16="http://schemas.microsoft.com/office/drawing/2014/main" id="{B18FE6A3-2A2F-E441-8DE7-99D240DDE1BB}"/>
                </a:ext>
              </a:extLst>
            </p:cNvPr>
            <p:cNvPicPr>
              <a:picLocks noChangeAspect="1" noChangeArrowheads="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4429164" y="1211012"/>
              <a:ext cx="1232027" cy="1232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a:extLst>
                <a:ext uri="{FF2B5EF4-FFF2-40B4-BE49-F238E27FC236}">
                  <a16:creationId xmlns:a16="http://schemas.microsoft.com/office/drawing/2014/main" id="{9BE03A68-42F9-374A-9D77-76361EB855A0}"/>
                </a:ext>
              </a:extLst>
            </p:cNvPr>
            <p:cNvSpPr txBox="1"/>
            <p:nvPr/>
          </p:nvSpPr>
          <p:spPr>
            <a:xfrm>
              <a:off x="3718254" y="2448552"/>
              <a:ext cx="2644908" cy="990614"/>
            </a:xfrm>
            <a:prstGeom prst="rect">
              <a:avLst/>
            </a:prstGeom>
            <a:noFill/>
          </p:spPr>
          <p:txBody>
            <a:bodyPr wrap="square" rtlCol="0">
              <a:spAutoFit/>
            </a:bodyPr>
            <a:lstStyle/>
            <a:p>
              <a:pPr algn="ctr"/>
              <a:r>
                <a:rPr lang="en-US" sz="1600" b="1" kern="0" dirty="0">
                  <a:solidFill>
                    <a:prstClr val="black"/>
                  </a:solidFill>
                </a:rPr>
                <a:t>Unscheduled Maintenance </a:t>
              </a:r>
            </a:p>
          </p:txBody>
        </p:sp>
      </p:grpSp>
      <p:grpSp>
        <p:nvGrpSpPr>
          <p:cNvPr id="7" name="Group 6">
            <a:extLst>
              <a:ext uri="{FF2B5EF4-FFF2-40B4-BE49-F238E27FC236}">
                <a16:creationId xmlns:a16="http://schemas.microsoft.com/office/drawing/2014/main" id="{25B05445-0738-B448-84BC-B541283F2F71}"/>
              </a:ext>
            </a:extLst>
          </p:cNvPr>
          <p:cNvGrpSpPr/>
          <p:nvPr/>
        </p:nvGrpSpPr>
        <p:grpSpPr>
          <a:xfrm>
            <a:off x="1455313" y="1047381"/>
            <a:ext cx="2043691" cy="1315249"/>
            <a:chOff x="449543" y="870571"/>
            <a:chExt cx="1924108" cy="1928059"/>
          </a:xfrm>
        </p:grpSpPr>
        <p:sp>
          <p:nvSpPr>
            <p:cNvPr id="8" name="TextBox 7">
              <a:extLst>
                <a:ext uri="{FF2B5EF4-FFF2-40B4-BE49-F238E27FC236}">
                  <a16:creationId xmlns:a16="http://schemas.microsoft.com/office/drawing/2014/main" id="{E443DDA4-9CCB-5F4F-8570-A54B0835D497}"/>
                </a:ext>
              </a:extLst>
            </p:cNvPr>
            <p:cNvSpPr txBox="1"/>
            <p:nvPr/>
          </p:nvSpPr>
          <p:spPr>
            <a:xfrm>
              <a:off x="449543" y="1941393"/>
              <a:ext cx="1924108" cy="857237"/>
            </a:xfrm>
            <a:prstGeom prst="rect">
              <a:avLst/>
            </a:prstGeom>
            <a:noFill/>
          </p:spPr>
          <p:txBody>
            <a:bodyPr wrap="square" rtlCol="0">
              <a:spAutoFit/>
            </a:bodyPr>
            <a:lstStyle/>
            <a:p>
              <a:pPr algn="ctr"/>
              <a:r>
                <a:rPr lang="en-US" sz="1600" b="1" kern="0" dirty="0">
                  <a:solidFill>
                    <a:prstClr val="black"/>
                  </a:solidFill>
                </a:rPr>
                <a:t>Immovable Asset Register (IAR) </a:t>
              </a:r>
            </a:p>
          </p:txBody>
        </p:sp>
        <p:pic>
          <p:nvPicPr>
            <p:cNvPr id="9" name="Picture 2">
              <a:extLst>
                <a:ext uri="{FF2B5EF4-FFF2-40B4-BE49-F238E27FC236}">
                  <a16:creationId xmlns:a16="http://schemas.microsoft.com/office/drawing/2014/main" id="{555429A4-1764-B740-8473-F8C3E3605086}"/>
                </a:ext>
              </a:extLst>
            </p:cNvPr>
            <p:cNvPicPr>
              <a:picLocks noChangeAspect="1" noChangeArrowheads="1"/>
            </p:cNvPicPr>
            <p:nvPr/>
          </p:nvPicPr>
          <p:blipFill>
            <a:blip r:embed="rId5">
              <a:duotone>
                <a:schemeClr val="accent4">
                  <a:shade val="45000"/>
                  <a:satMod val="135000"/>
                </a:schemeClr>
                <a:prstClr val="white"/>
              </a:duotone>
              <a:extLst>
                <a:ext uri="{BEBA8EAE-BF5A-486C-A8C5-ECC9F3942E4B}">
                  <a14:imgProps xmlns:a14="http://schemas.microsoft.com/office/drawing/2010/main">
                    <a14:imgLayer r:embed="rId6">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649140" y="870571"/>
              <a:ext cx="1652143" cy="1108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0" name="Group 9">
            <a:extLst>
              <a:ext uri="{FF2B5EF4-FFF2-40B4-BE49-F238E27FC236}">
                <a16:creationId xmlns:a16="http://schemas.microsoft.com/office/drawing/2014/main" id="{00B4AC1D-F3F2-A94E-943E-5DEB8D611150}"/>
              </a:ext>
            </a:extLst>
          </p:cNvPr>
          <p:cNvGrpSpPr/>
          <p:nvPr/>
        </p:nvGrpSpPr>
        <p:grpSpPr>
          <a:xfrm>
            <a:off x="9000564" y="1021556"/>
            <a:ext cx="1919789" cy="1142889"/>
            <a:chOff x="7145000" y="719710"/>
            <a:chExt cx="2470376" cy="1834248"/>
          </a:xfrm>
        </p:grpSpPr>
        <p:sp>
          <p:nvSpPr>
            <p:cNvPr id="11" name="TextBox 10">
              <a:extLst>
                <a:ext uri="{FF2B5EF4-FFF2-40B4-BE49-F238E27FC236}">
                  <a16:creationId xmlns:a16="http://schemas.microsoft.com/office/drawing/2014/main" id="{DA205C25-73A1-6245-888B-55568A5032DF}"/>
                </a:ext>
              </a:extLst>
            </p:cNvPr>
            <p:cNvSpPr txBox="1"/>
            <p:nvPr/>
          </p:nvSpPr>
          <p:spPr>
            <a:xfrm>
              <a:off x="7145000" y="2010605"/>
              <a:ext cx="2470376" cy="543353"/>
            </a:xfrm>
            <a:prstGeom prst="rect">
              <a:avLst/>
            </a:prstGeom>
            <a:noFill/>
          </p:spPr>
          <p:txBody>
            <a:bodyPr wrap="square" rtlCol="0">
              <a:spAutoFit/>
            </a:bodyPr>
            <a:lstStyle/>
            <a:p>
              <a:pPr algn="ctr"/>
              <a:r>
                <a:rPr lang="en-US" sz="1600" b="1" kern="0" dirty="0" err="1">
                  <a:solidFill>
                    <a:prstClr val="black"/>
                  </a:solidFill>
                </a:rPr>
                <a:t>LeaseIN</a:t>
              </a:r>
              <a:endParaRPr lang="en-US" sz="1600" b="1" kern="0" dirty="0">
                <a:solidFill>
                  <a:prstClr val="black"/>
                </a:solidFill>
              </a:endParaRPr>
            </a:p>
          </p:txBody>
        </p:sp>
        <p:pic>
          <p:nvPicPr>
            <p:cNvPr id="12" name="Picture 3">
              <a:extLst>
                <a:ext uri="{FF2B5EF4-FFF2-40B4-BE49-F238E27FC236}">
                  <a16:creationId xmlns:a16="http://schemas.microsoft.com/office/drawing/2014/main" id="{06681FC0-1E9E-AA4A-A3DA-EF0CD4E402AC}"/>
                </a:ext>
              </a:extLst>
            </p:cNvPr>
            <p:cNvPicPr>
              <a:picLocks noChangeAspect="1" noChangeArrowheads="1"/>
            </p:cNvPicPr>
            <p:nvPr/>
          </p:nvPicPr>
          <p:blipFill>
            <a:blip r:embed="rId7">
              <a:duotone>
                <a:schemeClr val="accent4">
                  <a:shade val="45000"/>
                  <a:satMod val="135000"/>
                </a:schemeClr>
                <a:prstClr val="white"/>
              </a:duotone>
              <a:extLst>
                <a:ext uri="{BEBA8EAE-BF5A-486C-A8C5-ECC9F3942E4B}">
                  <a14:imgProps xmlns:a14="http://schemas.microsoft.com/office/drawing/2010/main">
                    <a14:imgLayer r:embed="rId8">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7707273" y="719710"/>
              <a:ext cx="1231202" cy="12312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aphicFrame>
        <p:nvGraphicFramePr>
          <p:cNvPr id="16" name="Table 15">
            <a:extLst>
              <a:ext uri="{FF2B5EF4-FFF2-40B4-BE49-F238E27FC236}">
                <a16:creationId xmlns:a16="http://schemas.microsoft.com/office/drawing/2014/main" id="{665C5834-D99A-AB41-A7FF-E48A8EDAB30C}"/>
              </a:ext>
            </a:extLst>
          </p:cNvPr>
          <p:cNvGraphicFramePr>
            <a:graphicFrameLocks noGrp="1"/>
          </p:cNvGraphicFramePr>
          <p:nvPr/>
        </p:nvGraphicFramePr>
        <p:xfrm>
          <a:off x="1177905" y="2345696"/>
          <a:ext cx="3020608" cy="3913344"/>
        </p:xfrm>
        <a:graphic>
          <a:graphicData uri="http://schemas.openxmlformats.org/drawingml/2006/table">
            <a:tbl>
              <a:tblPr firstRow="1" bandRow="1">
                <a:tableStyleId>{69012ECD-51FC-41F1-AA8D-1B2483CD663E}</a:tableStyleId>
              </a:tblPr>
              <a:tblGrid>
                <a:gridCol w="1238129">
                  <a:extLst>
                    <a:ext uri="{9D8B030D-6E8A-4147-A177-3AD203B41FA5}">
                      <a16:colId xmlns:a16="http://schemas.microsoft.com/office/drawing/2014/main" val="20000"/>
                    </a:ext>
                  </a:extLst>
                </a:gridCol>
                <a:gridCol w="1782479">
                  <a:extLst>
                    <a:ext uri="{9D8B030D-6E8A-4147-A177-3AD203B41FA5}">
                      <a16:colId xmlns:a16="http://schemas.microsoft.com/office/drawing/2014/main" val="20001"/>
                    </a:ext>
                  </a:extLst>
                </a:gridCol>
              </a:tblGrid>
              <a:tr h="1627344">
                <a:tc>
                  <a:txBody>
                    <a:bodyPr/>
                    <a:lstStyle/>
                    <a:p>
                      <a:r>
                        <a:rPr lang="en-US" sz="1200" b="1" dirty="0">
                          <a:solidFill>
                            <a:schemeClr val="tx1"/>
                          </a:solidFill>
                        </a:rPr>
                        <a:t>Available Functionality</a:t>
                      </a:r>
                      <a:endParaRPr lang="en-ZA" sz="1200" b="1" dirty="0">
                        <a:solidFill>
                          <a:schemeClr val="tx1"/>
                        </a:solidFill>
                      </a:endParaRPr>
                    </a:p>
                  </a:txBody>
                  <a:tcPr>
                    <a:solidFill>
                      <a:schemeClr val="bg1"/>
                    </a:solidFill>
                  </a:tcPr>
                </a:tc>
                <a:tc>
                  <a:txBody>
                    <a:bodyPr/>
                    <a:lstStyle/>
                    <a:p>
                      <a:pPr marL="171450" indent="-171450">
                        <a:buFont typeface="Arial" panose="020B0604020202020204" pitchFamily="34" charset="0"/>
                        <a:buChar char="•"/>
                      </a:pPr>
                      <a:r>
                        <a:rPr lang="en-US" sz="1200" b="0" dirty="0">
                          <a:solidFill>
                            <a:schemeClr val="tx1"/>
                          </a:solidFill>
                        </a:rPr>
                        <a:t>Immovable Asset loading.</a:t>
                      </a:r>
                    </a:p>
                    <a:p>
                      <a:pPr marL="171450" indent="-171450">
                        <a:buFont typeface="Arial" panose="020B0604020202020204" pitchFamily="34" charset="0"/>
                        <a:buChar char="•"/>
                      </a:pPr>
                      <a:r>
                        <a:rPr lang="en-US" sz="1200" b="0" dirty="0">
                          <a:solidFill>
                            <a:schemeClr val="tx1"/>
                          </a:solidFill>
                        </a:rPr>
                        <a:t>Linking</a:t>
                      </a:r>
                      <a:r>
                        <a:rPr lang="en-US" sz="1200" b="0" baseline="0" dirty="0">
                          <a:solidFill>
                            <a:schemeClr val="tx1"/>
                          </a:solidFill>
                        </a:rPr>
                        <a:t> land and improvement.</a:t>
                      </a:r>
                      <a:endParaRPr lang="en-US" sz="1200" b="0" dirty="0">
                        <a:solidFill>
                          <a:schemeClr val="tx1"/>
                        </a:solidFill>
                      </a:endParaRPr>
                    </a:p>
                    <a:p>
                      <a:pPr marL="171450" indent="-171450">
                        <a:buFont typeface="Arial" panose="020B0604020202020204" pitchFamily="34" charset="0"/>
                        <a:buChar char="•"/>
                      </a:pPr>
                      <a:r>
                        <a:rPr lang="en-US" sz="1200" b="0" baseline="0" dirty="0">
                          <a:solidFill>
                            <a:schemeClr val="tx1"/>
                          </a:solidFill>
                        </a:rPr>
                        <a:t>Immovable Asset updating</a:t>
                      </a:r>
                    </a:p>
                    <a:p>
                      <a:pPr marL="171450" indent="-171450">
                        <a:buFont typeface="Arial" panose="020B0604020202020204" pitchFamily="34" charset="0"/>
                        <a:buChar char="•"/>
                      </a:pPr>
                      <a:r>
                        <a:rPr lang="en-US" sz="1200" b="0" baseline="0" dirty="0">
                          <a:solidFill>
                            <a:schemeClr val="tx1"/>
                          </a:solidFill>
                        </a:rPr>
                        <a:t>Assigning user departments</a:t>
                      </a:r>
                    </a:p>
                  </a:txBody>
                  <a:tcPr>
                    <a:solidFill>
                      <a:schemeClr val="bg1"/>
                    </a:solidFill>
                  </a:tcPr>
                </a:tc>
                <a:extLst>
                  <a:ext uri="{0D108BD9-81ED-4DB2-BD59-A6C34878D82A}">
                    <a16:rowId xmlns:a16="http://schemas.microsoft.com/office/drawing/2014/main" val="10001"/>
                  </a:ext>
                </a:extLst>
              </a:tr>
              <a:tr h="896306">
                <a:tc>
                  <a:txBody>
                    <a:bodyPr/>
                    <a:lstStyle/>
                    <a:p>
                      <a:r>
                        <a:rPr lang="en-US" sz="1200" b="1" dirty="0">
                          <a:solidFill>
                            <a:schemeClr val="tx1"/>
                          </a:solidFill>
                        </a:rPr>
                        <a:t>Activities completed</a:t>
                      </a:r>
                      <a:endParaRPr lang="en-ZA" sz="1200" b="1" dirty="0">
                        <a:solidFill>
                          <a:schemeClr val="tx1"/>
                        </a:solidFill>
                      </a:endParaRPr>
                    </a:p>
                  </a:txBody>
                  <a:tcPr/>
                </a:tc>
                <a:tc>
                  <a:txBody>
                    <a:bodyPr/>
                    <a:lstStyle/>
                    <a:p>
                      <a:pPr marL="171450" indent="-171450">
                        <a:buFont typeface="Arial" panose="020B0604020202020204" pitchFamily="34" charset="0"/>
                        <a:buChar char="•"/>
                      </a:pPr>
                      <a:r>
                        <a:rPr lang="en-ZA" sz="1200" dirty="0">
                          <a:solidFill>
                            <a:schemeClr val="tx1"/>
                          </a:solidFill>
                        </a:rPr>
                        <a:t>User Requirements Specifications</a:t>
                      </a:r>
                    </a:p>
                    <a:p>
                      <a:pPr marL="171450" indent="-171450">
                        <a:buFont typeface="Arial" panose="020B0604020202020204" pitchFamily="34" charset="0"/>
                        <a:buChar char="•"/>
                      </a:pPr>
                      <a:r>
                        <a:rPr lang="en-ZA" sz="1200" dirty="0">
                          <a:solidFill>
                            <a:schemeClr val="tx1"/>
                          </a:solidFill>
                        </a:rPr>
                        <a:t>Functional Requirements Specifications</a:t>
                      </a:r>
                      <a:r>
                        <a:rPr lang="en-ZA" sz="1200" baseline="0" dirty="0">
                          <a:solidFill>
                            <a:schemeClr val="tx1"/>
                          </a:solidFill>
                        </a:rPr>
                        <a:t> </a:t>
                      </a:r>
                    </a:p>
                    <a:p>
                      <a:pPr marL="171450" indent="-171450">
                        <a:buFont typeface="Arial" panose="020B0604020202020204" pitchFamily="34" charset="0"/>
                        <a:buChar char="•"/>
                      </a:pPr>
                      <a:r>
                        <a:rPr lang="en-ZA" sz="1200" baseline="0" dirty="0">
                          <a:solidFill>
                            <a:schemeClr val="tx1"/>
                          </a:solidFill>
                        </a:rPr>
                        <a:t>Development</a:t>
                      </a:r>
                    </a:p>
                    <a:p>
                      <a:pPr marL="171450" indent="-171450">
                        <a:buFont typeface="Arial" panose="020B0604020202020204" pitchFamily="34" charset="0"/>
                        <a:buChar char="•"/>
                      </a:pPr>
                      <a:r>
                        <a:rPr lang="en-ZA" sz="1200" dirty="0">
                          <a:solidFill>
                            <a:schemeClr val="tx1"/>
                          </a:solidFill>
                        </a:rPr>
                        <a:t>User acceptance</a:t>
                      </a:r>
                      <a:r>
                        <a:rPr lang="en-ZA" sz="1200" baseline="0" dirty="0">
                          <a:solidFill>
                            <a:schemeClr val="tx1"/>
                          </a:solidFill>
                        </a:rPr>
                        <a:t> testing</a:t>
                      </a:r>
                    </a:p>
                    <a:p>
                      <a:pPr marL="171450" indent="-171450">
                        <a:buFont typeface="Arial" panose="020B0604020202020204" pitchFamily="34" charset="0"/>
                        <a:buChar char="•"/>
                      </a:pPr>
                      <a:r>
                        <a:rPr lang="en-ZA" sz="1200" baseline="0" dirty="0">
                          <a:solidFill>
                            <a:schemeClr val="tx1"/>
                          </a:solidFill>
                        </a:rPr>
                        <a:t>Change Management</a:t>
                      </a:r>
                    </a:p>
                    <a:p>
                      <a:pPr marL="171450" indent="-171450">
                        <a:buFont typeface="Arial" panose="020B0604020202020204" pitchFamily="34" charset="0"/>
                        <a:buChar char="•"/>
                      </a:pPr>
                      <a:r>
                        <a:rPr lang="en-ZA" sz="1200" baseline="0" dirty="0">
                          <a:solidFill>
                            <a:schemeClr val="tx1"/>
                          </a:solidFill>
                        </a:rPr>
                        <a:t>User training</a:t>
                      </a:r>
                    </a:p>
                    <a:p>
                      <a:pPr marL="171450" indent="-171450">
                        <a:buFont typeface="Arial" panose="020B0604020202020204" pitchFamily="34" charset="0"/>
                        <a:buChar char="•"/>
                      </a:pPr>
                      <a:r>
                        <a:rPr lang="en-ZA" sz="1200" baseline="0" dirty="0">
                          <a:solidFill>
                            <a:schemeClr val="tx1"/>
                          </a:solidFill>
                        </a:rPr>
                        <a:t>Data migration</a:t>
                      </a:r>
                      <a:endParaRPr lang="en-ZA" sz="1200" dirty="0">
                        <a:solidFill>
                          <a:schemeClr val="tx1"/>
                        </a:solidFill>
                      </a:endParaRPr>
                    </a:p>
                  </a:txBody>
                  <a:tcPr/>
                </a:tc>
                <a:extLst>
                  <a:ext uri="{0D108BD9-81ED-4DB2-BD59-A6C34878D82A}">
                    <a16:rowId xmlns:a16="http://schemas.microsoft.com/office/drawing/2014/main" val="10002"/>
                  </a:ext>
                </a:extLst>
              </a:tr>
            </a:tbl>
          </a:graphicData>
        </a:graphic>
      </p:graphicFrame>
      <p:graphicFrame>
        <p:nvGraphicFramePr>
          <p:cNvPr id="17" name="Table 16">
            <a:extLst>
              <a:ext uri="{FF2B5EF4-FFF2-40B4-BE49-F238E27FC236}">
                <a16:creationId xmlns:a16="http://schemas.microsoft.com/office/drawing/2014/main" id="{4C8F084F-BE93-B344-ABD2-4EA81892B652}"/>
              </a:ext>
            </a:extLst>
          </p:cNvPr>
          <p:cNvGraphicFramePr>
            <a:graphicFrameLocks noGrp="1"/>
          </p:cNvGraphicFramePr>
          <p:nvPr/>
        </p:nvGraphicFramePr>
        <p:xfrm>
          <a:off x="4535786" y="2356384"/>
          <a:ext cx="3548959" cy="5120640"/>
        </p:xfrm>
        <a:graphic>
          <a:graphicData uri="http://schemas.openxmlformats.org/drawingml/2006/table">
            <a:tbl>
              <a:tblPr firstRow="1" bandRow="1">
                <a:tableStyleId>{69012ECD-51FC-41F1-AA8D-1B2483CD663E}</a:tableStyleId>
              </a:tblPr>
              <a:tblGrid>
                <a:gridCol w="1548738">
                  <a:extLst>
                    <a:ext uri="{9D8B030D-6E8A-4147-A177-3AD203B41FA5}">
                      <a16:colId xmlns:a16="http://schemas.microsoft.com/office/drawing/2014/main" val="20000"/>
                    </a:ext>
                  </a:extLst>
                </a:gridCol>
                <a:gridCol w="2000221">
                  <a:extLst>
                    <a:ext uri="{9D8B030D-6E8A-4147-A177-3AD203B41FA5}">
                      <a16:colId xmlns:a16="http://schemas.microsoft.com/office/drawing/2014/main" val="20001"/>
                    </a:ext>
                  </a:extLst>
                </a:gridCol>
              </a:tblGrid>
              <a:tr h="2292889">
                <a:tc>
                  <a:txBody>
                    <a:bodyPr/>
                    <a:lstStyle/>
                    <a:p>
                      <a:r>
                        <a:rPr lang="en-US" sz="1200" b="1" dirty="0">
                          <a:solidFill>
                            <a:schemeClr val="tx1"/>
                          </a:solidFill>
                        </a:rPr>
                        <a:t>Available </a:t>
                      </a:r>
                    </a:p>
                    <a:p>
                      <a:r>
                        <a:rPr lang="en-US" sz="1200" b="1" dirty="0">
                          <a:solidFill>
                            <a:schemeClr val="tx1"/>
                          </a:solidFill>
                        </a:rPr>
                        <a:t>functionality</a:t>
                      </a:r>
                      <a:endParaRPr lang="en-ZA" sz="1200" b="1" dirty="0">
                        <a:solidFill>
                          <a:schemeClr val="tx1"/>
                        </a:solidFill>
                      </a:endParaRPr>
                    </a:p>
                  </a:txBody>
                  <a:tcPr>
                    <a:solidFill>
                      <a:schemeClr val="bg1"/>
                    </a:solidFill>
                  </a:tcPr>
                </a:tc>
                <a:tc>
                  <a:txBody>
                    <a:bodyPr/>
                    <a:lstStyle/>
                    <a:p>
                      <a:pPr marL="171450" indent="-171450">
                        <a:buFont typeface="Arial" panose="020B0604020202020204" pitchFamily="34" charset="0"/>
                        <a:buChar char="•"/>
                      </a:pPr>
                      <a:r>
                        <a:rPr lang="en-US" sz="1200" b="0" dirty="0">
                          <a:solidFill>
                            <a:schemeClr val="tx1"/>
                          </a:solidFill>
                        </a:rPr>
                        <a:t>Call Logging and assigning reference numbers to calls being logged</a:t>
                      </a:r>
                    </a:p>
                    <a:p>
                      <a:pPr marL="171450" indent="-171450">
                        <a:buFont typeface="Arial" panose="020B0604020202020204" pitchFamily="34" charset="0"/>
                        <a:buChar char="•"/>
                      </a:pPr>
                      <a:r>
                        <a:rPr lang="en-US" sz="1200" b="0" dirty="0">
                          <a:solidFill>
                            <a:schemeClr val="tx1"/>
                          </a:solidFill>
                        </a:rPr>
                        <a:t>Assigning</a:t>
                      </a:r>
                      <a:r>
                        <a:rPr lang="en-US" sz="1200" b="0" baseline="0" dirty="0">
                          <a:solidFill>
                            <a:schemeClr val="tx1"/>
                          </a:solidFill>
                        </a:rPr>
                        <a:t> a call to an Asset</a:t>
                      </a:r>
                    </a:p>
                    <a:p>
                      <a:pPr marL="171450" indent="-171450">
                        <a:buFont typeface="Arial" panose="020B0604020202020204" pitchFamily="34" charset="0"/>
                        <a:buChar char="•"/>
                      </a:pPr>
                      <a:r>
                        <a:rPr lang="en-US" sz="1200" b="0" baseline="0" dirty="0">
                          <a:solidFill>
                            <a:schemeClr val="tx1"/>
                          </a:solidFill>
                        </a:rPr>
                        <a:t>Assigning a call to a service provider</a:t>
                      </a:r>
                    </a:p>
                    <a:p>
                      <a:pPr marL="171450" indent="-171450">
                        <a:buFont typeface="Arial" panose="020B0604020202020204" pitchFamily="34" charset="0"/>
                        <a:buChar char="•"/>
                      </a:pPr>
                      <a:r>
                        <a:rPr lang="en-US" sz="1200" b="0" baseline="0" dirty="0">
                          <a:solidFill>
                            <a:schemeClr val="tx1"/>
                          </a:solidFill>
                        </a:rPr>
                        <a:t>Closing of calls</a:t>
                      </a:r>
                    </a:p>
                    <a:p>
                      <a:pPr marL="171450" indent="-171450">
                        <a:buFont typeface="Arial" panose="020B0604020202020204" pitchFamily="34" charset="0"/>
                        <a:buChar char="•"/>
                      </a:pPr>
                      <a:r>
                        <a:rPr lang="en-US" sz="1200" b="0" baseline="0" dirty="0">
                          <a:solidFill>
                            <a:schemeClr val="tx1"/>
                          </a:solidFill>
                        </a:rPr>
                        <a:t>Add employee’s  client</a:t>
                      </a:r>
                    </a:p>
                    <a:p>
                      <a:pPr marL="171450" indent="-171450">
                        <a:buFont typeface="Arial" panose="020B0604020202020204" pitchFamily="34" charset="0"/>
                        <a:buChar char="•"/>
                      </a:pPr>
                      <a:r>
                        <a:rPr lang="en-US" sz="1200" b="0" baseline="0" dirty="0">
                          <a:solidFill>
                            <a:schemeClr val="tx1"/>
                          </a:solidFill>
                        </a:rPr>
                        <a:t>Add service providers to Archibus</a:t>
                      </a:r>
                    </a:p>
                    <a:p>
                      <a:pPr marL="171450" indent="-171450">
                        <a:buFont typeface="Arial" panose="020B0604020202020204" pitchFamily="34" charset="0"/>
                        <a:buChar char="•"/>
                      </a:pPr>
                      <a:r>
                        <a:rPr lang="en-US" sz="1200" b="0" baseline="0" dirty="0">
                          <a:solidFill>
                            <a:schemeClr val="tx1"/>
                          </a:solidFill>
                        </a:rPr>
                        <a:t>View feedback report</a:t>
                      </a:r>
                    </a:p>
                  </a:txBody>
                  <a:tcPr>
                    <a:solidFill>
                      <a:schemeClr val="bg1"/>
                    </a:solidFill>
                  </a:tcPr>
                </a:tc>
                <a:extLst>
                  <a:ext uri="{0D108BD9-81ED-4DB2-BD59-A6C34878D82A}">
                    <a16:rowId xmlns:a16="http://schemas.microsoft.com/office/drawing/2014/main" val="10001"/>
                  </a:ext>
                </a:extLst>
              </a:tr>
              <a:tr h="811615">
                <a:tc>
                  <a:txBody>
                    <a:bodyPr/>
                    <a:lstStyle/>
                    <a:p>
                      <a:r>
                        <a:rPr lang="en-US" sz="1200" b="1" dirty="0">
                          <a:solidFill>
                            <a:schemeClr val="tx1"/>
                          </a:solidFill>
                        </a:rPr>
                        <a:t>Activities </a:t>
                      </a:r>
                    </a:p>
                    <a:p>
                      <a:r>
                        <a:rPr lang="en-US" sz="1200" b="1" dirty="0">
                          <a:solidFill>
                            <a:schemeClr val="tx1"/>
                          </a:solidFill>
                        </a:rPr>
                        <a:t>completed</a:t>
                      </a:r>
                      <a:endParaRPr lang="en-ZA" sz="1200" b="1" dirty="0">
                        <a:solidFill>
                          <a:schemeClr val="tx1"/>
                        </a:solidFill>
                      </a:endParaRPr>
                    </a:p>
                  </a:txBody>
                  <a:tcPr/>
                </a:tc>
                <a:tc>
                  <a:txBody>
                    <a:bodyPr/>
                    <a:lstStyle/>
                    <a:p>
                      <a:pPr marL="171450" indent="-171450">
                        <a:buFont typeface="Arial" panose="020B0604020202020204" pitchFamily="34" charset="0"/>
                        <a:buChar char="•"/>
                      </a:pPr>
                      <a:r>
                        <a:rPr lang="en-ZA" sz="1200" dirty="0">
                          <a:solidFill>
                            <a:schemeClr val="tx1"/>
                          </a:solidFill>
                        </a:rPr>
                        <a:t>User Requirements Specifications</a:t>
                      </a:r>
                    </a:p>
                    <a:p>
                      <a:pPr marL="171450" indent="-171450">
                        <a:buFont typeface="Arial" panose="020B0604020202020204" pitchFamily="34" charset="0"/>
                        <a:buChar char="•"/>
                      </a:pPr>
                      <a:r>
                        <a:rPr lang="en-ZA" sz="1200" dirty="0">
                          <a:solidFill>
                            <a:schemeClr val="tx1"/>
                          </a:solidFill>
                        </a:rPr>
                        <a:t>Functional Requirements Specifications</a:t>
                      </a:r>
                      <a:r>
                        <a:rPr lang="en-ZA" sz="1200" baseline="0" dirty="0">
                          <a:solidFill>
                            <a:schemeClr val="tx1"/>
                          </a:solidFill>
                        </a:rPr>
                        <a:t> </a:t>
                      </a:r>
                    </a:p>
                    <a:p>
                      <a:pPr marL="171450" indent="-171450">
                        <a:buFont typeface="Arial" panose="020B0604020202020204" pitchFamily="34" charset="0"/>
                        <a:buChar char="•"/>
                      </a:pPr>
                      <a:r>
                        <a:rPr lang="en-ZA" sz="1200" baseline="0" dirty="0">
                          <a:solidFill>
                            <a:schemeClr val="tx1"/>
                          </a:solidFill>
                        </a:rPr>
                        <a:t>Development</a:t>
                      </a:r>
                    </a:p>
                    <a:p>
                      <a:pPr marL="171450" indent="-171450">
                        <a:buFont typeface="Arial" panose="020B0604020202020204" pitchFamily="34" charset="0"/>
                        <a:buChar char="•"/>
                      </a:pPr>
                      <a:r>
                        <a:rPr lang="en-ZA" sz="1200" dirty="0">
                          <a:solidFill>
                            <a:schemeClr val="tx1"/>
                          </a:solidFill>
                        </a:rPr>
                        <a:t>User acceptance</a:t>
                      </a:r>
                      <a:r>
                        <a:rPr lang="en-ZA" sz="1200" baseline="0" dirty="0">
                          <a:solidFill>
                            <a:schemeClr val="tx1"/>
                          </a:solidFill>
                        </a:rPr>
                        <a:t> testing</a:t>
                      </a:r>
                    </a:p>
                    <a:p>
                      <a:pPr marL="171450" indent="-171450">
                        <a:buFont typeface="Arial" panose="020B0604020202020204" pitchFamily="34" charset="0"/>
                        <a:buChar char="•"/>
                      </a:pPr>
                      <a:r>
                        <a:rPr lang="en-ZA" sz="1200" baseline="0" dirty="0">
                          <a:solidFill>
                            <a:schemeClr val="tx1"/>
                          </a:solidFill>
                        </a:rPr>
                        <a:t>Change Management</a:t>
                      </a:r>
                    </a:p>
                    <a:p>
                      <a:pPr marL="171450" indent="-171450">
                        <a:buFont typeface="Arial" panose="020B0604020202020204" pitchFamily="34" charset="0"/>
                        <a:buChar char="•"/>
                      </a:pPr>
                      <a:r>
                        <a:rPr lang="en-ZA" sz="1200" dirty="0">
                          <a:solidFill>
                            <a:schemeClr val="tx1"/>
                          </a:solidFill>
                        </a:rPr>
                        <a:t>User acceptance</a:t>
                      </a:r>
                      <a:r>
                        <a:rPr lang="en-ZA" sz="1200" baseline="0" dirty="0">
                          <a:solidFill>
                            <a:schemeClr val="tx1"/>
                          </a:solidFill>
                        </a:rPr>
                        <a:t> testing</a:t>
                      </a:r>
                    </a:p>
                    <a:p>
                      <a:pPr marL="171450" indent="-171450">
                        <a:buFont typeface="Arial" panose="020B0604020202020204" pitchFamily="34" charset="0"/>
                        <a:buChar char="•"/>
                      </a:pPr>
                      <a:r>
                        <a:rPr lang="en-ZA" sz="1200" baseline="0" dirty="0">
                          <a:solidFill>
                            <a:schemeClr val="tx1"/>
                          </a:solidFill>
                        </a:rPr>
                        <a:t>User training</a:t>
                      </a:r>
                    </a:p>
                  </a:txBody>
                  <a:tcPr/>
                </a:tc>
                <a:extLst>
                  <a:ext uri="{0D108BD9-81ED-4DB2-BD59-A6C34878D82A}">
                    <a16:rowId xmlns:a16="http://schemas.microsoft.com/office/drawing/2014/main" val="10002"/>
                  </a:ext>
                </a:extLst>
              </a:tr>
            </a:tbl>
          </a:graphicData>
        </a:graphic>
      </p:graphicFrame>
      <p:graphicFrame>
        <p:nvGraphicFramePr>
          <p:cNvPr id="18" name="Table 17">
            <a:extLst>
              <a:ext uri="{FF2B5EF4-FFF2-40B4-BE49-F238E27FC236}">
                <a16:creationId xmlns:a16="http://schemas.microsoft.com/office/drawing/2014/main" id="{428FDE9E-B30B-F247-957C-D90B63F571FA}"/>
              </a:ext>
            </a:extLst>
          </p:cNvPr>
          <p:cNvGraphicFramePr>
            <a:graphicFrameLocks noGrp="1"/>
          </p:cNvGraphicFramePr>
          <p:nvPr/>
        </p:nvGraphicFramePr>
        <p:xfrm>
          <a:off x="8174625" y="2354164"/>
          <a:ext cx="3775950" cy="4754880"/>
        </p:xfrm>
        <a:graphic>
          <a:graphicData uri="http://schemas.openxmlformats.org/drawingml/2006/table">
            <a:tbl>
              <a:tblPr firstRow="1" bandRow="1">
                <a:tableStyleId>{69012ECD-51FC-41F1-AA8D-1B2483CD663E}</a:tableStyleId>
              </a:tblPr>
              <a:tblGrid>
                <a:gridCol w="1547738">
                  <a:extLst>
                    <a:ext uri="{9D8B030D-6E8A-4147-A177-3AD203B41FA5}">
                      <a16:colId xmlns:a16="http://schemas.microsoft.com/office/drawing/2014/main" val="20000"/>
                    </a:ext>
                  </a:extLst>
                </a:gridCol>
                <a:gridCol w="2228212">
                  <a:extLst>
                    <a:ext uri="{9D8B030D-6E8A-4147-A177-3AD203B41FA5}">
                      <a16:colId xmlns:a16="http://schemas.microsoft.com/office/drawing/2014/main" val="20001"/>
                    </a:ext>
                  </a:extLst>
                </a:gridCol>
              </a:tblGrid>
              <a:tr h="908420">
                <a:tc>
                  <a:txBody>
                    <a:bodyPr/>
                    <a:lstStyle/>
                    <a:p>
                      <a:r>
                        <a:rPr lang="en-US" sz="1200" b="1" dirty="0">
                          <a:solidFill>
                            <a:schemeClr val="tx1"/>
                          </a:solidFill>
                        </a:rPr>
                        <a:t>Available Functionality</a:t>
                      </a:r>
                      <a:endParaRPr lang="en-ZA" sz="1200" b="1" dirty="0">
                        <a:solidFill>
                          <a:schemeClr val="tx1"/>
                        </a:solidFill>
                      </a:endParaRPr>
                    </a:p>
                  </a:txBody>
                  <a:tcPr>
                    <a:solidFill>
                      <a:schemeClr val="bg1"/>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effectLst/>
                          <a:latin typeface="+mn-lt"/>
                          <a:ea typeface="+mn-ea"/>
                          <a:cs typeface="+mn-cs"/>
                        </a:rPr>
                        <a:t>Create a Leased Asset, Verification and Approval</a:t>
                      </a:r>
                      <a:endParaRPr lang="en-ZA" sz="800" b="0"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effectLst/>
                          <a:latin typeface="+mn-lt"/>
                          <a:ea typeface="+mn-ea"/>
                          <a:cs typeface="+mn-cs"/>
                        </a:rPr>
                        <a:t>Lease Asset Management, Verification and Approval</a:t>
                      </a:r>
                      <a:endParaRPr lang="en-ZA" sz="800" b="0"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effectLst/>
                          <a:latin typeface="+mn-lt"/>
                          <a:ea typeface="+mn-ea"/>
                          <a:cs typeface="+mn-cs"/>
                        </a:rPr>
                        <a:t>Lease Capturing, Verification and Approval</a:t>
                      </a:r>
                      <a:endParaRPr lang="en-ZA" sz="800" b="0"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effectLst/>
                          <a:latin typeface="+mn-lt"/>
                          <a:ea typeface="+mn-ea"/>
                          <a:cs typeface="+mn-cs"/>
                        </a:rPr>
                        <a:t>Lease Renewal, Verification and Approval</a:t>
                      </a:r>
                      <a:endParaRPr lang="en-ZA" sz="800" b="0"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effectLst/>
                          <a:latin typeface="+mn-lt"/>
                          <a:ea typeface="+mn-ea"/>
                          <a:cs typeface="+mn-cs"/>
                        </a:rPr>
                        <a:t>Lease Suspension, Verification and </a:t>
                      </a:r>
                      <a:r>
                        <a:rPr lang="en-US" sz="800" b="0" kern="1200" dirty="0" err="1">
                          <a:solidFill>
                            <a:schemeClr val="tx1"/>
                          </a:solidFill>
                          <a:effectLst/>
                          <a:latin typeface="+mn-lt"/>
                          <a:ea typeface="+mn-ea"/>
                          <a:cs typeface="+mn-cs"/>
                        </a:rPr>
                        <a:t>ApprovalLease</a:t>
                      </a:r>
                      <a:r>
                        <a:rPr lang="en-US" sz="800" b="0" kern="1200" dirty="0">
                          <a:solidFill>
                            <a:schemeClr val="tx1"/>
                          </a:solidFill>
                          <a:effectLst/>
                          <a:latin typeface="+mn-lt"/>
                          <a:ea typeface="+mn-ea"/>
                          <a:cs typeface="+mn-cs"/>
                        </a:rPr>
                        <a:t> Termination, Verification and Approval</a:t>
                      </a:r>
                      <a:endParaRPr lang="en-ZA" sz="800" b="0"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effectLst/>
                          <a:latin typeface="+mn-lt"/>
                          <a:ea typeface="+mn-ea"/>
                          <a:cs typeface="+mn-cs"/>
                        </a:rPr>
                        <a:t>Cost Adjustment.</a:t>
                      </a:r>
                      <a:endParaRPr lang="en-ZA" sz="800" b="0"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effectLst/>
                          <a:latin typeface="+mn-lt"/>
                          <a:ea typeface="+mn-ea"/>
                          <a:cs typeface="+mn-cs"/>
                        </a:rPr>
                        <a:t>Automatic seamless interface and payment of all valid lease from ARCHIBUS to SAGE for the full term of the lease.  No requirement for PP38 approvals.</a:t>
                      </a:r>
                      <a:endParaRPr lang="en-ZA" sz="800" b="0"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err="1">
                          <a:solidFill>
                            <a:schemeClr val="tx1"/>
                          </a:solidFill>
                          <a:effectLst/>
                          <a:latin typeface="+mn-lt"/>
                          <a:ea typeface="+mn-ea"/>
                          <a:cs typeface="+mn-cs"/>
                        </a:rPr>
                        <a:t>Centralised</a:t>
                      </a:r>
                      <a:r>
                        <a:rPr lang="en-US" sz="800" b="0" kern="1200" dirty="0">
                          <a:solidFill>
                            <a:schemeClr val="tx1"/>
                          </a:solidFill>
                          <a:effectLst/>
                          <a:latin typeface="+mn-lt"/>
                          <a:ea typeface="+mn-ea"/>
                          <a:cs typeface="+mn-cs"/>
                        </a:rPr>
                        <a:t> single source supplier information. Seamless interface of supplier details from SAGE to ARCHIBUS used when capturing a lease.</a:t>
                      </a:r>
                      <a:endParaRPr lang="en-ZA" sz="800" b="0" kern="1200" dirty="0">
                        <a:solidFill>
                          <a:schemeClr val="tx1"/>
                        </a:solidFill>
                        <a:effectLst/>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800" b="1"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sz="800" b="1" baseline="0" dirty="0">
                        <a:solidFill>
                          <a:schemeClr val="tx1"/>
                        </a:solidFill>
                      </a:endParaRPr>
                    </a:p>
                  </a:txBody>
                  <a:tcPr>
                    <a:solidFill>
                      <a:schemeClr val="bg1"/>
                    </a:solidFill>
                  </a:tcPr>
                </a:tc>
                <a:extLst>
                  <a:ext uri="{0D108BD9-81ED-4DB2-BD59-A6C34878D82A}">
                    <a16:rowId xmlns:a16="http://schemas.microsoft.com/office/drawing/2014/main" val="10001"/>
                  </a:ext>
                </a:extLst>
              </a:tr>
              <a:tr h="553792">
                <a:tc>
                  <a:txBody>
                    <a:bodyPr/>
                    <a:lstStyle/>
                    <a:p>
                      <a:r>
                        <a:rPr lang="en-US" sz="1200" b="1" dirty="0">
                          <a:solidFill>
                            <a:schemeClr val="tx1"/>
                          </a:solidFill>
                        </a:rPr>
                        <a:t>Activities Completed</a:t>
                      </a:r>
                      <a:endParaRPr lang="en-ZA" sz="1200" b="1" dirty="0">
                        <a:solidFill>
                          <a:schemeClr val="tx1"/>
                        </a:solidFill>
                      </a:endParaRPr>
                    </a:p>
                  </a:txBody>
                  <a:tcPr/>
                </a:tc>
                <a:tc>
                  <a:txBody>
                    <a:bodyPr/>
                    <a:lstStyle/>
                    <a:p>
                      <a:pPr marL="171450" indent="-171450">
                        <a:buFont typeface="Arial" panose="020B0604020202020204" pitchFamily="34" charset="0"/>
                        <a:buChar char="•"/>
                      </a:pPr>
                      <a:r>
                        <a:rPr lang="en-ZA" sz="1200" dirty="0">
                          <a:solidFill>
                            <a:schemeClr val="tx1"/>
                          </a:solidFill>
                        </a:rPr>
                        <a:t>User Requirements Specifications</a:t>
                      </a:r>
                    </a:p>
                    <a:p>
                      <a:pPr marL="171450" indent="-171450">
                        <a:buFont typeface="Arial" panose="020B0604020202020204" pitchFamily="34" charset="0"/>
                        <a:buChar char="•"/>
                      </a:pPr>
                      <a:r>
                        <a:rPr lang="en-ZA" sz="1200" dirty="0">
                          <a:solidFill>
                            <a:schemeClr val="tx1"/>
                          </a:solidFill>
                        </a:rPr>
                        <a:t>Functional Requirements Specifications</a:t>
                      </a:r>
                      <a:r>
                        <a:rPr lang="en-ZA" sz="1200" baseline="0" dirty="0">
                          <a:solidFill>
                            <a:schemeClr val="tx1"/>
                          </a:solidFill>
                        </a:rPr>
                        <a:t> </a:t>
                      </a:r>
                    </a:p>
                    <a:p>
                      <a:pPr marL="171450" indent="-171450">
                        <a:buFont typeface="Arial" panose="020B0604020202020204" pitchFamily="34" charset="0"/>
                        <a:buChar char="•"/>
                      </a:pPr>
                      <a:r>
                        <a:rPr lang="en-ZA" sz="1200" baseline="0" dirty="0">
                          <a:solidFill>
                            <a:schemeClr val="tx1"/>
                          </a:solidFill>
                        </a:rPr>
                        <a:t>Development</a:t>
                      </a:r>
                    </a:p>
                    <a:p>
                      <a:pPr marL="171450" indent="-171450">
                        <a:buFont typeface="Arial" panose="020B0604020202020204" pitchFamily="34" charset="0"/>
                        <a:buChar char="•"/>
                      </a:pPr>
                      <a:r>
                        <a:rPr lang="en-ZA" sz="1200" dirty="0">
                          <a:solidFill>
                            <a:schemeClr val="tx1"/>
                          </a:solidFill>
                        </a:rPr>
                        <a:t>User acceptance</a:t>
                      </a:r>
                      <a:r>
                        <a:rPr lang="en-ZA" sz="1200" baseline="0" dirty="0">
                          <a:solidFill>
                            <a:schemeClr val="tx1"/>
                          </a:solidFill>
                        </a:rPr>
                        <a:t> testing</a:t>
                      </a:r>
                    </a:p>
                    <a:p>
                      <a:pPr marL="171450" indent="-171450">
                        <a:buFont typeface="Arial" panose="020B0604020202020204" pitchFamily="34" charset="0"/>
                        <a:buChar char="•"/>
                      </a:pPr>
                      <a:r>
                        <a:rPr lang="en-ZA" sz="1200" baseline="0" dirty="0">
                          <a:solidFill>
                            <a:schemeClr val="tx1"/>
                          </a:solidFill>
                        </a:rPr>
                        <a:t>Change Management</a:t>
                      </a:r>
                    </a:p>
                    <a:p>
                      <a:pPr marL="171450" indent="-171450" algn="l" defTabSz="457200" rtl="0" eaLnBrk="1" latinLnBrk="0" hangingPunct="1">
                        <a:buFont typeface="Arial" panose="020B0604020202020204" pitchFamily="34" charset="0"/>
                        <a:buChar char="•"/>
                      </a:pPr>
                      <a:r>
                        <a:rPr lang="en-ZA" sz="1200" b="0" kern="1200" baseline="0" dirty="0">
                          <a:solidFill>
                            <a:schemeClr val="tx1"/>
                          </a:solidFill>
                          <a:latin typeface="+mn-lt"/>
                          <a:ea typeface="+mn-ea"/>
                          <a:cs typeface="+mn-cs"/>
                        </a:rPr>
                        <a:t>User acceptance testing</a:t>
                      </a:r>
                    </a:p>
                    <a:p>
                      <a:pPr marL="171450" indent="-171450" algn="l" defTabSz="457200" rtl="0" eaLnBrk="1" latinLnBrk="0" hangingPunct="1">
                        <a:buFont typeface="Arial" panose="020B0604020202020204" pitchFamily="34" charset="0"/>
                        <a:buChar char="•"/>
                      </a:pPr>
                      <a:r>
                        <a:rPr lang="en-ZA" sz="1200" b="0" kern="1200" baseline="0" dirty="0">
                          <a:solidFill>
                            <a:schemeClr val="tx1"/>
                          </a:solidFill>
                          <a:latin typeface="+mn-lt"/>
                          <a:ea typeface="+mn-ea"/>
                          <a:cs typeface="+mn-cs"/>
                        </a:rPr>
                        <a:t>User training</a:t>
                      </a:r>
                    </a:p>
                  </a:txBody>
                  <a:tcPr/>
                </a:tc>
                <a:extLst>
                  <a:ext uri="{0D108BD9-81ED-4DB2-BD59-A6C34878D82A}">
                    <a16:rowId xmlns:a16="http://schemas.microsoft.com/office/drawing/2014/main" val="10002"/>
                  </a:ext>
                </a:extLst>
              </a:tr>
            </a:tbl>
          </a:graphicData>
        </a:graphic>
      </p:graphicFrame>
      <p:sp>
        <p:nvSpPr>
          <p:cNvPr id="19" name="TextBox 18"/>
          <p:cNvSpPr txBox="1"/>
          <p:nvPr/>
        </p:nvSpPr>
        <p:spPr>
          <a:xfrm>
            <a:off x="11279523" y="6375398"/>
            <a:ext cx="683741" cy="367042"/>
          </a:xfrm>
          <a:prstGeom prst="rect">
            <a:avLst/>
          </a:prstGeom>
          <a:noFill/>
        </p:spPr>
        <p:txBody>
          <a:bodyPr wrap="square" rtlCol="0">
            <a:spAutoFit/>
          </a:bodyPr>
          <a:lstStyle/>
          <a:p>
            <a:r>
              <a:rPr lang="en-US" dirty="0"/>
              <a:t>31</a:t>
            </a:r>
          </a:p>
        </p:txBody>
      </p:sp>
    </p:spTree>
    <p:extLst>
      <p:ext uri="{BB962C8B-B14F-4D97-AF65-F5344CB8AC3E}">
        <p14:creationId xmlns:p14="http://schemas.microsoft.com/office/powerpoint/2010/main" val="21162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Content Placeholder 3">
            <a:extLst>
              <a:ext uri="{FF2B5EF4-FFF2-40B4-BE49-F238E27FC236}">
                <a16:creationId xmlns:a16="http://schemas.microsoft.com/office/drawing/2014/main" id="{FF692AC2-E252-5B84-02B5-D9EEFEF8EE91}"/>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49691" y="1104719"/>
            <a:ext cx="11501604" cy="55636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5" name="Title 1">
            <a:extLst>
              <a:ext uri="{FF2B5EF4-FFF2-40B4-BE49-F238E27FC236}">
                <a16:creationId xmlns:a16="http://schemas.microsoft.com/office/drawing/2014/main" id="{51CE2031-B368-6E02-8850-78F76D2A043E}"/>
              </a:ext>
            </a:extLst>
          </p:cNvPr>
          <p:cNvSpPr>
            <a:spLocks noGrp="1"/>
          </p:cNvSpPr>
          <p:nvPr>
            <p:ph type="title"/>
          </p:nvPr>
        </p:nvSpPr>
        <p:spPr bwMode="auto">
          <a:xfrm>
            <a:off x="1135933" y="538624"/>
            <a:ext cx="9920134" cy="4298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fontScale="90000"/>
          </a:bodyPr>
          <a:lstStyle/>
          <a:p>
            <a:r>
              <a:rPr lang="en-ZA" altLang="en-US" sz="3396"/>
              <a:t>IMMOVABLE ASSET REGISTER VIEW </a:t>
            </a:r>
          </a:p>
        </p:txBody>
      </p:sp>
      <p:sp>
        <p:nvSpPr>
          <p:cNvPr id="54276" name="TextBox 4">
            <a:extLst>
              <a:ext uri="{FF2B5EF4-FFF2-40B4-BE49-F238E27FC236}">
                <a16:creationId xmlns:a16="http://schemas.microsoft.com/office/drawing/2014/main" id="{55A50F2F-4B87-E380-6A39-5F93B9E12694}"/>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38</a:t>
            </a:r>
            <a:endParaRPr lang="en-US" altLang="en-US" sz="1698" dirty="0"/>
          </a:p>
        </p:txBody>
      </p:sp>
    </p:spTree>
    <p:extLst>
      <p:ext uri="{BB962C8B-B14F-4D97-AF65-F5344CB8AC3E}">
        <p14:creationId xmlns:p14="http://schemas.microsoft.com/office/powerpoint/2010/main" val="48804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Content Placeholder 3">
            <a:extLst>
              <a:ext uri="{FF2B5EF4-FFF2-40B4-BE49-F238E27FC236}">
                <a16:creationId xmlns:a16="http://schemas.microsoft.com/office/drawing/2014/main" id="{05B5500C-3DA8-29A3-9871-FCC6449F18BB}"/>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45198" y="1118196"/>
            <a:ext cx="11501604" cy="554563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299" name="Title 1">
            <a:extLst>
              <a:ext uri="{FF2B5EF4-FFF2-40B4-BE49-F238E27FC236}">
                <a16:creationId xmlns:a16="http://schemas.microsoft.com/office/drawing/2014/main" id="{5FE294F8-9791-5B46-AF30-3E80CAB541F7}"/>
              </a:ext>
            </a:extLst>
          </p:cNvPr>
          <p:cNvSpPr>
            <a:spLocks noGrp="1"/>
          </p:cNvSpPr>
          <p:nvPr>
            <p:ph type="title"/>
          </p:nvPr>
        </p:nvSpPr>
        <p:spPr bwMode="auto">
          <a:xfrm>
            <a:off x="1135933" y="538624"/>
            <a:ext cx="9920134" cy="35044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fontScale="90000"/>
          </a:bodyPr>
          <a:lstStyle/>
          <a:p>
            <a:r>
              <a:rPr lang="en-ZA" altLang="en-US" sz="3396"/>
              <a:t>FM CALL LOG AND STATUS VIEW</a:t>
            </a:r>
          </a:p>
        </p:txBody>
      </p:sp>
      <p:sp>
        <p:nvSpPr>
          <p:cNvPr id="55300" name="TextBox 4">
            <a:extLst>
              <a:ext uri="{FF2B5EF4-FFF2-40B4-BE49-F238E27FC236}">
                <a16:creationId xmlns:a16="http://schemas.microsoft.com/office/drawing/2014/main" id="{01B1BC48-65A6-8B19-B3F4-35757ECE10D0}"/>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39</a:t>
            </a:r>
            <a:endParaRPr lang="en-US" altLang="en-US" sz="1698" dirty="0"/>
          </a:p>
        </p:txBody>
      </p:sp>
    </p:spTree>
    <p:extLst>
      <p:ext uri="{BB962C8B-B14F-4D97-AF65-F5344CB8AC3E}">
        <p14:creationId xmlns:p14="http://schemas.microsoft.com/office/powerpoint/2010/main" val="407506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3">
            <a:extLst>
              <a:ext uri="{FF2B5EF4-FFF2-40B4-BE49-F238E27FC236}">
                <a16:creationId xmlns:a16="http://schemas.microsoft.com/office/drawing/2014/main" id="{29186BD4-1ADB-0B0A-7479-3DC748D13662}"/>
              </a:ext>
            </a:extLst>
          </p:cNvPr>
          <p:cNvSpPr>
            <a:spLocks noGrp="1"/>
          </p:cNvSpPr>
          <p:nvPr>
            <p:ph type="title"/>
          </p:nvPr>
        </p:nvSpPr>
        <p:spPr bwMode="auto">
          <a:xfrm>
            <a:off x="1248254" y="495194"/>
            <a:ext cx="10351444" cy="118161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pPr>
              <a:spcBef>
                <a:spcPct val="20000"/>
              </a:spcBef>
            </a:pPr>
            <a:r>
              <a:rPr lang="en-ZA" altLang="en-US" sz="3019" b="1"/>
              <a:t>HISTORICAL CONTEXT</a:t>
            </a:r>
          </a:p>
        </p:txBody>
      </p:sp>
      <p:graphicFrame>
        <p:nvGraphicFramePr>
          <p:cNvPr id="5" name="Diagram 4">
            <a:extLst>
              <a:ext uri="{FF2B5EF4-FFF2-40B4-BE49-F238E27FC236}">
                <a16:creationId xmlns:a16="http://schemas.microsoft.com/office/drawing/2014/main" id="{C5196EB5-D9B4-25B3-6BDC-758CCD75D05C}"/>
              </a:ext>
            </a:extLst>
          </p:cNvPr>
          <p:cNvGraphicFramePr/>
          <p:nvPr/>
        </p:nvGraphicFramePr>
        <p:xfrm>
          <a:off x="1734076" y="1166141"/>
          <a:ext cx="8822029" cy="45317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Oval 6">
            <a:extLst>
              <a:ext uri="{FF2B5EF4-FFF2-40B4-BE49-F238E27FC236}">
                <a16:creationId xmlns:a16="http://schemas.microsoft.com/office/drawing/2014/main" id="{97368152-4D5F-9DFB-4559-E08A6452C6BD}"/>
              </a:ext>
            </a:extLst>
          </p:cNvPr>
          <p:cNvSpPr/>
          <p:nvPr/>
        </p:nvSpPr>
        <p:spPr>
          <a:xfrm>
            <a:off x="8396322" y="1980818"/>
            <a:ext cx="608028" cy="554114"/>
          </a:xfrm>
          <a:prstGeom prst="ellipse">
            <a:avLst/>
          </a:prstGeom>
          <a:solidFill>
            <a:srgbClr val="FFC000"/>
          </a:solidFill>
          <a:ln>
            <a:solidFill>
              <a:schemeClr val="bg1">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24581" name="Group 18">
            <a:extLst>
              <a:ext uri="{FF2B5EF4-FFF2-40B4-BE49-F238E27FC236}">
                <a16:creationId xmlns:a16="http://schemas.microsoft.com/office/drawing/2014/main" id="{0AF7A194-7884-3C03-C0E3-F2EFC4CAA0AA}"/>
              </a:ext>
            </a:extLst>
          </p:cNvPr>
          <p:cNvGrpSpPr>
            <a:grpSpLocks/>
          </p:cNvGrpSpPr>
          <p:nvPr/>
        </p:nvGrpSpPr>
        <p:grpSpPr bwMode="auto">
          <a:xfrm>
            <a:off x="6208321" y="2728122"/>
            <a:ext cx="4205274" cy="739817"/>
            <a:chOff x="1093479" y="2808314"/>
            <a:chExt cx="2205070" cy="963395"/>
          </a:xfrm>
        </p:grpSpPr>
        <p:sp>
          <p:nvSpPr>
            <p:cNvPr id="13" name="Rectangle 12">
              <a:extLst>
                <a:ext uri="{FF2B5EF4-FFF2-40B4-BE49-F238E27FC236}">
                  <a16:creationId xmlns:a16="http://schemas.microsoft.com/office/drawing/2014/main" id="{F4482530-4B21-884E-BE24-34D48EB866A6}"/>
                </a:ext>
              </a:extLst>
            </p:cNvPr>
            <p:cNvSpPr/>
            <p:nvPr/>
          </p:nvSpPr>
          <p:spPr>
            <a:xfrm>
              <a:off x="1584280" y="2808314"/>
              <a:ext cx="1714269" cy="55580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4" name="Rectangle 13">
              <a:extLst>
                <a:ext uri="{FF2B5EF4-FFF2-40B4-BE49-F238E27FC236}">
                  <a16:creationId xmlns:a16="http://schemas.microsoft.com/office/drawing/2014/main" id="{AD7020E6-0D47-3D90-2ABD-63986EF4E040}"/>
                </a:ext>
              </a:extLst>
            </p:cNvPr>
            <p:cNvSpPr/>
            <p:nvPr/>
          </p:nvSpPr>
          <p:spPr>
            <a:xfrm>
              <a:off x="1093479" y="3215905"/>
              <a:ext cx="1714269" cy="55580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136638" tIns="0" rIns="0" bIns="0" spcCol="1270"/>
            <a:lstStyle/>
            <a:p>
              <a:pPr defTabSz="546257">
                <a:lnSpc>
                  <a:spcPct val="90000"/>
                </a:lnSpc>
                <a:spcAft>
                  <a:spcPct val="35000"/>
                </a:spcAft>
                <a:defRPr/>
              </a:pPr>
              <a:r>
                <a:rPr lang="en-ZA" sz="1415" b="1" dirty="0">
                  <a:solidFill>
                    <a:schemeClr val="tx1"/>
                  </a:solidFill>
                  <a:latin typeface="Arial Narrow" panose="020B0606020202030204" pitchFamily="34" charset="0"/>
                </a:rPr>
                <a:t>2013</a:t>
              </a:r>
            </a:p>
            <a:p>
              <a:pPr marL="161746" indent="-161746">
                <a:buFont typeface="Arial" panose="020B0604020202020204" pitchFamily="34" charset="0"/>
                <a:buChar char="•"/>
                <a:defRPr/>
              </a:pPr>
              <a:r>
                <a:rPr lang="en-ZA" sz="1038" b="1" dirty="0">
                  <a:solidFill>
                    <a:schemeClr val="dk1"/>
                  </a:solidFill>
                </a:rPr>
                <a:t>PMTE went out on open tender to procure a Billing and Accounting solution with capabilities to integrate. </a:t>
              </a:r>
            </a:p>
            <a:p>
              <a:pPr marL="161746" indent="-161746">
                <a:buFont typeface="Arial" panose="020B0604020202020204" pitchFamily="34" charset="0"/>
                <a:buChar char="•"/>
                <a:defRPr/>
              </a:pPr>
              <a:r>
                <a:rPr lang="en-ZA" sz="1038" b="1" dirty="0">
                  <a:solidFill>
                    <a:schemeClr val="dk1"/>
                  </a:solidFill>
                </a:rPr>
                <a:t>Deloitte appointed as SAGE service provider and recommended </a:t>
              </a:r>
              <a:r>
                <a:rPr lang="en-ZA" sz="1038" b="1" dirty="0" err="1">
                  <a:solidFill>
                    <a:schemeClr val="dk1"/>
                  </a:solidFill>
                </a:rPr>
                <a:t>Archibus</a:t>
              </a:r>
              <a:r>
                <a:rPr lang="en-ZA" sz="1038" b="1" dirty="0">
                  <a:solidFill>
                    <a:schemeClr val="dk1"/>
                  </a:solidFill>
                </a:rPr>
                <a:t> for IAR. Contract ( Nov 2013 – May 2016).</a:t>
              </a:r>
            </a:p>
            <a:p>
              <a:pPr defTabSz="546257">
                <a:lnSpc>
                  <a:spcPct val="90000"/>
                </a:lnSpc>
                <a:spcAft>
                  <a:spcPct val="35000"/>
                </a:spcAft>
                <a:defRPr/>
              </a:pPr>
              <a:endParaRPr lang="en-ZA" sz="1152" dirty="0">
                <a:solidFill>
                  <a:srgbClr val="C00000"/>
                </a:solidFill>
                <a:latin typeface="Arial Narrow" panose="020B0606020202030204" pitchFamily="34" charset="0"/>
              </a:endParaRPr>
            </a:p>
          </p:txBody>
        </p:sp>
      </p:grpSp>
      <p:grpSp>
        <p:nvGrpSpPr>
          <p:cNvPr id="24582" name="Group 6">
            <a:extLst>
              <a:ext uri="{FF2B5EF4-FFF2-40B4-BE49-F238E27FC236}">
                <a16:creationId xmlns:a16="http://schemas.microsoft.com/office/drawing/2014/main" id="{79F1EF33-6C30-49EE-667B-14AD4566471D}"/>
              </a:ext>
            </a:extLst>
          </p:cNvPr>
          <p:cNvGrpSpPr>
            <a:grpSpLocks/>
          </p:cNvGrpSpPr>
          <p:nvPr/>
        </p:nvGrpSpPr>
        <p:grpSpPr bwMode="auto">
          <a:xfrm>
            <a:off x="1616665" y="5961452"/>
            <a:ext cx="8626203" cy="702376"/>
            <a:chOff x="0" y="5867400"/>
            <a:chExt cx="9144000" cy="990600"/>
          </a:xfrm>
        </p:grpSpPr>
        <p:sp>
          <p:nvSpPr>
            <p:cNvPr id="16" name="AutoShape 20">
              <a:extLst>
                <a:ext uri="{FF2B5EF4-FFF2-40B4-BE49-F238E27FC236}">
                  <a16:creationId xmlns:a16="http://schemas.microsoft.com/office/drawing/2014/main" id="{7875DEB9-1E84-B38F-6A2F-E168B00CD926}"/>
                </a:ext>
              </a:extLst>
            </p:cNvPr>
            <p:cNvSpPr>
              <a:spLocks noChangeArrowheads="1"/>
            </p:cNvSpPr>
            <p:nvPr/>
          </p:nvSpPr>
          <p:spPr bwMode="auto">
            <a:xfrm rot="10800000">
              <a:off x="0" y="5867400"/>
              <a:ext cx="9144000" cy="762487"/>
            </a:xfrm>
            <a:prstGeom prst="rtTriangle">
              <a:avLst/>
            </a:prstGeom>
            <a:solidFill>
              <a:srgbClr val="FF6600">
                <a:alpha val="79999"/>
              </a:srgbClr>
            </a:solidFill>
            <a:ln w="9525" algn="ctr">
              <a:solidFill>
                <a:srgbClr val="FF6600"/>
              </a:solidFill>
              <a:miter lim="800000"/>
              <a:headEnd/>
              <a:tailEnd/>
            </a:ln>
          </p:spPr>
          <p:txBody>
            <a:bodyPr wrap="none" anchor="ctr"/>
            <a:lstStyle/>
            <a:p>
              <a:pPr algn="ctr">
                <a:defRPr/>
              </a:pPr>
              <a:endParaRPr lang="en-ZA" sz="1698" kern="0">
                <a:solidFill>
                  <a:prstClr val="black"/>
                </a:solidFill>
              </a:endParaRPr>
            </a:p>
          </p:txBody>
        </p:sp>
        <p:pic>
          <p:nvPicPr>
            <p:cNvPr id="24587" name="Picture 21">
              <a:extLst>
                <a:ext uri="{FF2B5EF4-FFF2-40B4-BE49-F238E27FC236}">
                  <a16:creationId xmlns:a16="http://schemas.microsoft.com/office/drawing/2014/main" id="{8CFE3D67-7341-E412-6BE6-C4EFD18A20B8}"/>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5872163"/>
              <a:ext cx="2743200"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grpSp>
      <p:sp>
        <p:nvSpPr>
          <p:cNvPr id="2" name="Oval 1">
            <a:extLst>
              <a:ext uri="{FF2B5EF4-FFF2-40B4-BE49-F238E27FC236}">
                <a16:creationId xmlns:a16="http://schemas.microsoft.com/office/drawing/2014/main" id="{4489370E-FC79-54B2-D690-FA0592E8A4B7}"/>
              </a:ext>
            </a:extLst>
          </p:cNvPr>
          <p:cNvSpPr/>
          <p:nvPr/>
        </p:nvSpPr>
        <p:spPr>
          <a:xfrm>
            <a:off x="5929768" y="2779040"/>
            <a:ext cx="438798" cy="342952"/>
          </a:xfrm>
          <a:prstGeom prst="ellipse">
            <a:avLst/>
          </a:prstGeom>
          <a:solidFill>
            <a:srgbClr val="FFC000"/>
          </a:solidFill>
          <a:ln w="34925">
            <a:solidFill>
              <a:schemeClr val="bg2">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698"/>
          </a:p>
        </p:txBody>
      </p:sp>
      <p:sp>
        <p:nvSpPr>
          <p:cNvPr id="18" name="Rectangle 17">
            <a:extLst>
              <a:ext uri="{FF2B5EF4-FFF2-40B4-BE49-F238E27FC236}">
                <a16:creationId xmlns:a16="http://schemas.microsoft.com/office/drawing/2014/main" id="{17435206-F800-25B7-4567-78BA5B2A784A}"/>
              </a:ext>
            </a:extLst>
          </p:cNvPr>
          <p:cNvSpPr/>
          <p:nvPr/>
        </p:nvSpPr>
        <p:spPr>
          <a:xfrm>
            <a:off x="3777709" y="3728522"/>
            <a:ext cx="2291335" cy="42831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136638" tIns="0" rIns="0" bIns="0" spcCol="1270"/>
          <a:lstStyle/>
          <a:p>
            <a:pPr defTabSz="546257">
              <a:lnSpc>
                <a:spcPct val="90000"/>
              </a:lnSpc>
              <a:spcAft>
                <a:spcPct val="35000"/>
              </a:spcAft>
              <a:defRPr/>
            </a:pPr>
            <a:r>
              <a:rPr lang="en-ZA" sz="1415" b="1" dirty="0">
                <a:solidFill>
                  <a:schemeClr val="tx1"/>
                </a:solidFill>
                <a:latin typeface="Arial Narrow" panose="020B0606020202030204" pitchFamily="34" charset="0"/>
              </a:rPr>
              <a:t>2012</a:t>
            </a:r>
          </a:p>
          <a:p>
            <a:pPr marL="161746" indent="-161746">
              <a:buFont typeface="Arial" panose="020B0604020202020204" pitchFamily="34" charset="0"/>
              <a:buChar char="•"/>
              <a:defRPr/>
            </a:pPr>
            <a:r>
              <a:rPr lang="en-ZA" sz="1038" b="1" dirty="0">
                <a:solidFill>
                  <a:schemeClr val="dk1"/>
                </a:solidFill>
              </a:rPr>
              <a:t>Accenture Score Card supported the decision to opt for </a:t>
            </a:r>
            <a:r>
              <a:rPr lang="en-ZA" sz="1038" b="1" dirty="0" err="1">
                <a:solidFill>
                  <a:schemeClr val="dk1"/>
                </a:solidFill>
              </a:rPr>
              <a:t>Archibus</a:t>
            </a:r>
            <a:r>
              <a:rPr lang="en-ZA" sz="1038" b="1" dirty="0">
                <a:solidFill>
                  <a:schemeClr val="dk1"/>
                </a:solidFill>
              </a:rPr>
              <a:t> against Oracle, IFS, SAP and </a:t>
            </a:r>
            <a:r>
              <a:rPr lang="en-ZA" sz="1038" b="1" dirty="0" err="1">
                <a:solidFill>
                  <a:schemeClr val="dk1"/>
                </a:solidFill>
              </a:rPr>
              <a:t>iEWorks</a:t>
            </a:r>
            <a:r>
              <a:rPr lang="en-ZA" sz="1038" dirty="0">
                <a:solidFill>
                  <a:schemeClr val="dk1"/>
                </a:solidFill>
              </a:rPr>
              <a:t>. </a:t>
            </a:r>
          </a:p>
          <a:p>
            <a:pPr defTabSz="546257">
              <a:lnSpc>
                <a:spcPct val="90000"/>
              </a:lnSpc>
              <a:spcAft>
                <a:spcPct val="35000"/>
              </a:spcAft>
              <a:defRPr/>
            </a:pPr>
            <a:endParaRPr lang="en-ZA" sz="1152" dirty="0">
              <a:solidFill>
                <a:srgbClr val="C00000"/>
              </a:solidFill>
              <a:latin typeface="Arial Narrow" panose="020B0606020202030204" pitchFamily="34" charset="0"/>
            </a:endParaRPr>
          </a:p>
        </p:txBody>
      </p:sp>
      <p:sp>
        <p:nvSpPr>
          <p:cNvPr id="24585" name="TextBox 19">
            <a:extLst>
              <a:ext uri="{FF2B5EF4-FFF2-40B4-BE49-F238E27FC236}">
                <a16:creationId xmlns:a16="http://schemas.microsoft.com/office/drawing/2014/main" id="{ECA264F0-4DD1-EC21-13E6-484A75B45FAA}"/>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a:t>4</a:t>
            </a:r>
          </a:p>
        </p:txBody>
      </p:sp>
    </p:spTree>
    <p:extLst>
      <p:ext uri="{BB962C8B-B14F-4D97-AF65-F5344CB8AC3E}">
        <p14:creationId xmlns:p14="http://schemas.microsoft.com/office/powerpoint/2010/main" val="300828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a:extLst>
              <a:ext uri="{FF2B5EF4-FFF2-40B4-BE49-F238E27FC236}">
                <a16:creationId xmlns:a16="http://schemas.microsoft.com/office/drawing/2014/main" id="{1B1E15C4-ED7A-3B6F-BF01-A050A16B8246}"/>
              </a:ext>
            </a:extLst>
          </p:cNvPr>
          <p:cNvSpPr>
            <a:spLocks noGrp="1"/>
          </p:cNvSpPr>
          <p:nvPr>
            <p:ph type="title"/>
          </p:nvPr>
        </p:nvSpPr>
        <p:spPr>
          <a:xfrm>
            <a:off x="1135933" y="538623"/>
            <a:ext cx="9920134" cy="444789"/>
          </a:xfrm>
        </p:spPr>
        <p:txBody>
          <a:bodyPr>
            <a:normAutofit fontScale="90000"/>
          </a:bodyPr>
          <a:lstStyle/>
          <a:p>
            <a:pPr algn="ctr"/>
            <a:r>
              <a:rPr lang="en-ZA" altLang="en-US" sz="3396" b="1" dirty="0"/>
              <a:t>LEASE-IN VIEW</a:t>
            </a:r>
          </a:p>
        </p:txBody>
      </p:sp>
      <p:sp>
        <p:nvSpPr>
          <p:cNvPr id="57348" name="TextBox 4">
            <a:extLst>
              <a:ext uri="{FF2B5EF4-FFF2-40B4-BE49-F238E27FC236}">
                <a16:creationId xmlns:a16="http://schemas.microsoft.com/office/drawing/2014/main" id="{BA213468-C000-6C3F-E516-9CB93F0EF250}"/>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405</a:t>
            </a:r>
            <a:endParaRPr lang="en-US" altLang="en-US" sz="1698" dirty="0"/>
          </a:p>
        </p:txBody>
      </p:sp>
      <p:pic>
        <p:nvPicPr>
          <p:cNvPr id="5" name="Content Placeholder 4">
            <a:extLst>
              <a:ext uri="{FF2B5EF4-FFF2-40B4-BE49-F238E27FC236}">
                <a16:creationId xmlns:a16="http://schemas.microsoft.com/office/drawing/2014/main" id="{6B5E894A-33DF-C459-238E-CD93CBFADA9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0854" y="1316411"/>
            <a:ext cx="11070294" cy="5131542"/>
          </a:xfrm>
        </p:spPr>
      </p:pic>
    </p:spTree>
    <p:extLst>
      <p:ext uri="{BB962C8B-B14F-4D97-AF65-F5344CB8AC3E}">
        <p14:creationId xmlns:p14="http://schemas.microsoft.com/office/powerpoint/2010/main" val="325188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Content Placeholder 6">
            <a:extLst>
              <a:ext uri="{FF2B5EF4-FFF2-40B4-BE49-F238E27FC236}">
                <a16:creationId xmlns:a16="http://schemas.microsoft.com/office/drawing/2014/main" id="{A530FA09-BEC7-CAD4-CBA6-47F4DE71FDA1}"/>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45198" y="1311388"/>
            <a:ext cx="11501604" cy="535243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3" name="Title 1">
            <a:extLst>
              <a:ext uri="{FF2B5EF4-FFF2-40B4-BE49-F238E27FC236}">
                <a16:creationId xmlns:a16="http://schemas.microsoft.com/office/drawing/2014/main" id="{61CEBB2C-D2D8-06AF-597A-17558B1C0179}"/>
              </a:ext>
            </a:extLst>
          </p:cNvPr>
          <p:cNvSpPr>
            <a:spLocks noGrp="1"/>
          </p:cNvSpPr>
          <p:nvPr>
            <p:ph type="title"/>
          </p:nvPr>
        </p:nvSpPr>
        <p:spPr bwMode="auto">
          <a:xfrm>
            <a:off x="920278" y="722830"/>
            <a:ext cx="10351444" cy="118161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r>
              <a:rPr lang="en-ZA" altLang="en-US" sz="3396"/>
              <a:t>IMMOVABLE ASSET REGISTER GIS VIEW</a:t>
            </a:r>
          </a:p>
        </p:txBody>
      </p:sp>
      <p:sp>
        <p:nvSpPr>
          <p:cNvPr id="56324" name="TextBox 4">
            <a:extLst>
              <a:ext uri="{FF2B5EF4-FFF2-40B4-BE49-F238E27FC236}">
                <a16:creationId xmlns:a16="http://schemas.microsoft.com/office/drawing/2014/main" id="{EDEF3DAB-5895-E153-8F08-24F849930DA0}"/>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41</a:t>
            </a:r>
            <a:endParaRPr lang="en-US" altLang="en-US" sz="1698" dirty="0"/>
          </a:p>
        </p:txBody>
      </p:sp>
    </p:spTree>
    <p:extLst>
      <p:ext uri="{BB962C8B-B14F-4D97-AF65-F5344CB8AC3E}">
        <p14:creationId xmlns:p14="http://schemas.microsoft.com/office/powerpoint/2010/main" val="143951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a:extLst>
              <a:ext uri="{FF2B5EF4-FFF2-40B4-BE49-F238E27FC236}">
                <a16:creationId xmlns:a16="http://schemas.microsoft.com/office/drawing/2014/main" id="{F5496471-5A75-6EB6-CFB9-2ADCA136A99D}"/>
              </a:ext>
            </a:extLst>
          </p:cNvPr>
          <p:cNvSpPr>
            <a:spLocks noGrp="1"/>
          </p:cNvSpPr>
          <p:nvPr>
            <p:ph type="title"/>
          </p:nvPr>
        </p:nvSpPr>
        <p:spPr>
          <a:xfrm>
            <a:off x="1221297" y="194174"/>
            <a:ext cx="9920134" cy="696387"/>
          </a:xfrm>
        </p:spPr>
        <p:txBody>
          <a:bodyPr/>
          <a:lstStyle/>
          <a:p>
            <a:pPr algn="ctr"/>
            <a:r>
              <a:rPr lang="en-ZA" altLang="en-US" sz="3396" b="1"/>
              <a:t>GRAP REPORTING STANDARDS</a:t>
            </a:r>
          </a:p>
        </p:txBody>
      </p:sp>
      <p:graphicFrame>
        <p:nvGraphicFramePr>
          <p:cNvPr id="8" name="Content Placeholder 7">
            <a:extLst>
              <a:ext uri="{FF2B5EF4-FFF2-40B4-BE49-F238E27FC236}">
                <a16:creationId xmlns:a16="http://schemas.microsoft.com/office/drawing/2014/main" id="{B05FF78B-C126-C823-EB46-31CE7083EEF9}"/>
              </a:ext>
            </a:extLst>
          </p:cNvPr>
          <p:cNvGraphicFramePr>
            <a:graphicFrameLocks noGrp="1"/>
          </p:cNvGraphicFramePr>
          <p:nvPr>
            <p:ph idx="1"/>
            <p:extLst>
              <p:ext uri="{D42A27DB-BD31-4B8C-83A1-F6EECF244321}">
                <p14:modId xmlns:p14="http://schemas.microsoft.com/office/powerpoint/2010/main" val="1008363122"/>
              </p:ext>
            </p:extLst>
          </p:nvPr>
        </p:nvGraphicFramePr>
        <p:xfrm>
          <a:off x="2125850" y="1426782"/>
          <a:ext cx="8882293" cy="4942064"/>
        </p:xfrm>
        <a:graphic>
          <a:graphicData uri="http://schemas.openxmlformats.org/drawingml/2006/table">
            <a:tbl>
              <a:tblPr/>
              <a:tblGrid>
                <a:gridCol w="3027329">
                  <a:extLst>
                    <a:ext uri="{9D8B030D-6E8A-4147-A177-3AD203B41FA5}">
                      <a16:colId xmlns:a16="http://schemas.microsoft.com/office/drawing/2014/main" val="20000"/>
                    </a:ext>
                  </a:extLst>
                </a:gridCol>
                <a:gridCol w="3450676">
                  <a:extLst>
                    <a:ext uri="{9D8B030D-6E8A-4147-A177-3AD203B41FA5}">
                      <a16:colId xmlns:a16="http://schemas.microsoft.com/office/drawing/2014/main" val="20001"/>
                    </a:ext>
                  </a:extLst>
                </a:gridCol>
                <a:gridCol w="2404288">
                  <a:extLst>
                    <a:ext uri="{9D8B030D-6E8A-4147-A177-3AD203B41FA5}">
                      <a16:colId xmlns:a16="http://schemas.microsoft.com/office/drawing/2014/main" val="20002"/>
                    </a:ext>
                  </a:extLst>
                </a:gridCol>
              </a:tblGrid>
              <a:tr h="474453">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kern="1200" dirty="0">
                          <a:solidFill>
                            <a:srgbClr val="000000"/>
                          </a:solidFill>
                          <a:effectLst/>
                          <a:latin typeface="Arial" panose="020B0604020202020204" pitchFamily="34" charset="0"/>
                          <a:ea typeface="+mn-ea"/>
                          <a:cs typeface="Arial" panose="020B0604020202020204" pitchFamily="34" charset="0"/>
                        </a:rPr>
                        <a:t>GRAP requirement Standards</a:t>
                      </a:r>
                    </a:p>
                    <a:p>
                      <a:pPr marL="0" marR="0" indent="0" algn="ctr" defTabSz="914400" rtl="0" eaLnBrk="1" fontAlgn="b" latinLnBrk="0" hangingPunct="1">
                        <a:lnSpc>
                          <a:spcPct val="100000"/>
                        </a:lnSpc>
                        <a:spcBef>
                          <a:spcPts val="0"/>
                        </a:spcBef>
                        <a:spcAft>
                          <a:spcPts val="0"/>
                        </a:spcAft>
                        <a:buClrTx/>
                        <a:buSzTx/>
                        <a:buFontTx/>
                        <a:buNone/>
                        <a:tabLst/>
                        <a:defRPr/>
                      </a:pPr>
                      <a:r>
                        <a:rPr lang="en-US" sz="1000" b="1" i="0" u="none" strike="noStrike" dirty="0">
                          <a:solidFill>
                            <a:srgbClr val="000000"/>
                          </a:solidFill>
                          <a:effectLst/>
                          <a:latin typeface="Calibri" panose="020F0502020204030204" pitchFamily="34" charset="0"/>
                        </a:rPr>
                        <a:t>GRAP 17, 16, 103 reports</a:t>
                      </a:r>
                    </a:p>
                    <a:p>
                      <a:pPr algn="ctr" fontAlgn="b"/>
                      <a:endParaRPr lang="en-US" sz="1000" b="1"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ZA" sz="1000" b="1" i="0" u="none" strike="noStrike" kern="1200" dirty="0">
                          <a:solidFill>
                            <a:srgbClr val="000000"/>
                          </a:solidFill>
                          <a:effectLst/>
                          <a:latin typeface="Arial" panose="020B0604020202020204" pitchFamily="34" charset="0"/>
                          <a:ea typeface="+mn-ea"/>
                          <a:cs typeface="Arial" panose="020B0604020202020204" pitchFamily="34" charset="0"/>
                        </a:rPr>
                        <a:t>Module Dependency</a:t>
                      </a:r>
                    </a:p>
                    <a:p>
                      <a:pPr algn="ctr" fontAlgn="b"/>
                      <a:endParaRPr lang="en-ZA" sz="1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ZA" sz="1000" b="1" i="0" u="none" strike="noStrike" kern="1200" dirty="0">
                          <a:solidFill>
                            <a:srgbClr val="000000"/>
                          </a:solidFill>
                          <a:effectLst/>
                          <a:latin typeface="Arial" panose="020B0604020202020204" pitchFamily="34" charset="0"/>
                          <a:ea typeface="+mn-ea"/>
                          <a:cs typeface="Arial" panose="020B0604020202020204" pitchFamily="34" charset="0"/>
                        </a:rPr>
                        <a:t>Date of resolution</a:t>
                      </a:r>
                    </a:p>
                    <a:p>
                      <a:pPr marL="0" algn="ctr" defTabSz="914400" rtl="0" eaLnBrk="1" fontAlgn="b" latinLnBrk="0" hangingPunct="1"/>
                      <a:endParaRPr lang="en-ZA"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58147">
                <a:tc>
                  <a:txBody>
                    <a:bodyPr/>
                    <a:lstStyle/>
                    <a:p>
                      <a:pPr algn="l" fontAlgn="t"/>
                      <a:r>
                        <a:rPr lang="en-ZA" sz="1000" b="0" i="0" u="none" strike="noStrike" dirty="0">
                          <a:solidFill>
                            <a:schemeClr val="tx1"/>
                          </a:solidFill>
                          <a:effectLst/>
                          <a:latin typeface="Arial" panose="020B0604020202020204" pitchFamily="34" charset="0"/>
                          <a:cs typeface="Arial" panose="020B0604020202020204" pitchFamily="34" charset="0"/>
                        </a:rPr>
                        <a:t>Disclosur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I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 Oct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48365">
                <a:tc>
                  <a:txBody>
                    <a:bodyPr/>
                    <a:lstStyle/>
                    <a:p>
                      <a:pPr algn="l" fontAlgn="t"/>
                      <a:r>
                        <a:rPr lang="en-ZA" sz="1000" b="1" i="0" u="none" strike="noStrike" dirty="0">
                          <a:solidFill>
                            <a:schemeClr val="tx1"/>
                          </a:solidFill>
                          <a:effectLst/>
                          <a:latin typeface="Arial" panose="020B0604020202020204" pitchFamily="34" charset="0"/>
                          <a:cs typeface="Arial" panose="020B0604020202020204" pitchFamily="34" charset="0"/>
                        </a:rPr>
                        <a:t>Addition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I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Oct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8365">
                <a:tc>
                  <a:txBody>
                    <a:bodyPr/>
                    <a:lstStyle/>
                    <a:p>
                      <a:pPr algn="l" fontAlgn="t"/>
                      <a:r>
                        <a:rPr lang="en-ZA" sz="1000" b="0" i="0" u="none" strike="noStrike" dirty="0">
                          <a:solidFill>
                            <a:schemeClr val="tx1"/>
                          </a:solidFill>
                          <a:effectLst/>
                          <a:latin typeface="Arial" panose="020B0604020202020204" pitchFamily="34" charset="0"/>
                          <a:cs typeface="Arial" panose="020B0604020202020204" pitchFamily="34" charset="0"/>
                        </a:rPr>
                        <a:t>Residual valu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I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Oct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89758">
                <a:tc>
                  <a:txBody>
                    <a:bodyPr/>
                    <a:lstStyle/>
                    <a:p>
                      <a:pPr algn="l" fontAlgn="t"/>
                      <a:r>
                        <a:rPr lang="en-ZA" sz="1000" b="1" i="0" u="none" strike="noStrike" dirty="0">
                          <a:solidFill>
                            <a:schemeClr val="tx1"/>
                          </a:solidFill>
                          <a:effectLst/>
                          <a:latin typeface="Arial" panose="020B0604020202020204" pitchFamily="34" charset="0"/>
                          <a:cs typeface="Arial" panose="020B0604020202020204" pitchFamily="34" charset="0"/>
                        </a:rPr>
                        <a:t>Dispos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IAR and SAGE receivables</a:t>
                      </a:r>
                      <a:r>
                        <a:rPr lang="en-ZA" sz="1000" b="0" i="0" u="none" strike="noStrike" baseline="0" dirty="0">
                          <a:solidFill>
                            <a:srgbClr val="000000"/>
                          </a:solidFill>
                          <a:effectLst/>
                          <a:latin typeface="Arial" panose="020B0604020202020204" pitchFamily="34" charset="0"/>
                          <a:cs typeface="Arial" panose="020B0604020202020204" pitchFamily="34" charset="0"/>
                        </a:rPr>
                        <a:t> (integration)</a:t>
                      </a:r>
                      <a:endParaRPr lang="en-ZA" sz="1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Oct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34637">
                <a:tc>
                  <a:txBody>
                    <a:bodyPr/>
                    <a:lstStyle/>
                    <a:p>
                      <a:pPr algn="l" fontAlgn="t"/>
                      <a:r>
                        <a:rPr lang="en-ZA" sz="1000" b="1" i="0" u="none" strike="noStrike" dirty="0">
                          <a:solidFill>
                            <a:schemeClr val="tx1"/>
                          </a:solidFill>
                          <a:effectLst/>
                          <a:latin typeface="Arial" panose="020B0604020202020204" pitchFamily="34" charset="0"/>
                          <a:cs typeface="Arial" panose="020B0604020202020204" pitchFamily="34" charset="0"/>
                        </a:rPr>
                        <a:t>Depreciation Repor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lnSpc>
                          <a:spcPct val="150000"/>
                        </a:lnSpc>
                      </a:pPr>
                      <a:r>
                        <a:rPr lang="en-ZA" sz="1000" b="0" i="0" u="none" strike="noStrike" dirty="0">
                          <a:solidFill>
                            <a:srgbClr val="000000"/>
                          </a:solidFill>
                          <a:effectLst/>
                          <a:latin typeface="Arial" panose="020B0604020202020204" pitchFamily="34" charset="0"/>
                          <a:cs typeface="Arial" panose="020B0604020202020204" pitchFamily="34" charset="0"/>
                        </a:rPr>
                        <a:t>IAR and SAGE receivables</a:t>
                      </a:r>
                      <a:r>
                        <a:rPr lang="en-ZA" sz="1000" b="0" i="0" u="none" strike="noStrike" baseline="0" dirty="0">
                          <a:solidFill>
                            <a:srgbClr val="000000"/>
                          </a:solidFill>
                          <a:effectLst/>
                          <a:latin typeface="Arial" panose="020B0604020202020204" pitchFamily="34" charset="0"/>
                          <a:cs typeface="Arial" panose="020B0604020202020204" pitchFamily="34" charset="0"/>
                        </a:rPr>
                        <a:t> (integration)</a:t>
                      </a:r>
                      <a:endParaRPr lang="en-ZA" sz="1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Oct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89758">
                <a:tc>
                  <a:txBody>
                    <a:bodyPr/>
                    <a:lstStyle/>
                    <a:p>
                      <a:pPr algn="l" fontAlgn="t"/>
                      <a:r>
                        <a:rPr lang="en-ZA" sz="1000" b="0" i="0" u="none" strike="noStrike" dirty="0">
                          <a:solidFill>
                            <a:schemeClr val="tx1"/>
                          </a:solidFill>
                          <a:effectLst/>
                          <a:latin typeface="Arial" panose="020B0604020202020204" pitchFamily="34" charset="0"/>
                          <a:cs typeface="Arial" panose="020B0604020202020204" pitchFamily="34" charset="0"/>
                        </a:rPr>
                        <a:t>Revaluat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Condition Assessme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baseline="0" dirty="0">
                          <a:solidFill>
                            <a:srgbClr val="000000"/>
                          </a:solidFill>
                          <a:effectLst/>
                          <a:latin typeface="Arial" panose="020B0604020202020204" pitchFamily="34" charset="0"/>
                          <a:ea typeface="+mn-ea"/>
                          <a:cs typeface="Arial" panose="020B0604020202020204" pitchFamily="34" charset="0"/>
                        </a:rPr>
                        <a:t>Dec </a:t>
                      </a:r>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58147">
                <a:tc>
                  <a:txBody>
                    <a:bodyPr/>
                    <a:lstStyle/>
                    <a:p>
                      <a:pPr algn="l" fontAlgn="t"/>
                      <a:r>
                        <a:rPr lang="en-ZA" sz="1000" b="1" i="0" u="none" strike="noStrike" dirty="0">
                          <a:solidFill>
                            <a:schemeClr val="tx1"/>
                          </a:solidFill>
                          <a:effectLst/>
                          <a:latin typeface="Arial" panose="020B0604020202020204" pitchFamily="34" charset="0"/>
                          <a:cs typeface="Arial" panose="020B0604020202020204" pitchFamily="34" charset="0"/>
                        </a:rPr>
                        <a:t>Verification and Condition assessmen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Condition Assessme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baseline="0" dirty="0">
                          <a:solidFill>
                            <a:srgbClr val="000000"/>
                          </a:solidFill>
                          <a:effectLst/>
                          <a:latin typeface="Arial" panose="020B0604020202020204" pitchFamily="34" charset="0"/>
                          <a:ea typeface="+mn-ea"/>
                          <a:cs typeface="Arial" panose="020B0604020202020204" pitchFamily="34" charset="0"/>
                        </a:rPr>
                        <a:t>Dec </a:t>
                      </a:r>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89758">
                <a:tc>
                  <a:txBody>
                    <a:bodyPr/>
                    <a:lstStyle/>
                    <a:p>
                      <a:pPr algn="l" fontAlgn="t"/>
                      <a:r>
                        <a:rPr lang="en-ZA" sz="1000" b="1" i="0" u="none" strike="noStrike" dirty="0">
                          <a:solidFill>
                            <a:schemeClr val="tx1"/>
                          </a:solidFill>
                          <a:effectLst/>
                          <a:latin typeface="Arial" panose="020B0604020202020204" pitchFamily="34" charset="0"/>
                          <a:cs typeface="Arial" panose="020B0604020202020204" pitchFamily="34" charset="0"/>
                        </a:rPr>
                        <a:t>Useful life assess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Condition Assessment (in progre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baseline="0" dirty="0">
                          <a:solidFill>
                            <a:srgbClr val="000000"/>
                          </a:solidFill>
                          <a:effectLst/>
                          <a:latin typeface="Arial" panose="020B0604020202020204" pitchFamily="34" charset="0"/>
                          <a:ea typeface="+mn-ea"/>
                          <a:cs typeface="Arial" panose="020B0604020202020204" pitchFamily="34" charset="0"/>
                        </a:rPr>
                        <a:t>Dec </a:t>
                      </a:r>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48365">
                <a:tc>
                  <a:txBody>
                    <a:bodyPr/>
                    <a:lstStyle/>
                    <a:p>
                      <a:pPr algn="l" fontAlgn="t"/>
                      <a:r>
                        <a:rPr lang="en-ZA" sz="1000" b="1" i="0" u="none" strike="noStrike" dirty="0">
                          <a:solidFill>
                            <a:schemeClr val="tx1"/>
                          </a:solidFill>
                          <a:effectLst/>
                          <a:latin typeface="Arial" panose="020B0604020202020204" pitchFamily="34" charset="0"/>
                          <a:cs typeface="Arial" panose="020B0604020202020204" pitchFamily="34" charset="0"/>
                        </a:rPr>
                        <a:t>Impair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I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Oct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48365">
                <a:tc>
                  <a:txBody>
                    <a:bodyPr/>
                    <a:lstStyle/>
                    <a:p>
                      <a:pPr algn="l" fontAlgn="t"/>
                      <a:r>
                        <a:rPr lang="en-ZA" sz="1000" b="0" i="0" u="none" strike="noStrike" dirty="0">
                          <a:solidFill>
                            <a:schemeClr val="tx1"/>
                          </a:solidFill>
                          <a:effectLst/>
                          <a:latin typeface="Arial" panose="020B0604020202020204" pitchFamily="34" charset="0"/>
                          <a:cs typeface="Arial" panose="020B0604020202020204" pitchFamily="34" charset="0"/>
                        </a:rPr>
                        <a:t>Reversal of Impair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I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Oct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434637">
                <a:tc>
                  <a:txBody>
                    <a:bodyPr/>
                    <a:lstStyle/>
                    <a:p>
                      <a:pPr algn="l" fontAlgn="t"/>
                      <a:r>
                        <a:rPr lang="en-ZA" sz="1000" b="1" i="0" u="none" strike="noStrike" dirty="0">
                          <a:solidFill>
                            <a:schemeClr val="tx1"/>
                          </a:solidFill>
                          <a:effectLst/>
                          <a:latin typeface="Arial" panose="020B0604020202020204" pitchFamily="34" charset="0"/>
                          <a:cs typeface="Arial" panose="020B0604020202020204" pitchFamily="34" charset="0"/>
                        </a:rPr>
                        <a:t>Exception Report </a:t>
                      </a:r>
                      <a:r>
                        <a:rPr lang="en-ZA" sz="1000" b="0" i="0" u="none" strike="noStrike" dirty="0">
                          <a:solidFill>
                            <a:schemeClr val="tx1"/>
                          </a:solidFill>
                          <a:effectLst/>
                          <a:latin typeface="Arial" panose="020B0604020202020204" pitchFamily="34" charset="0"/>
                          <a:cs typeface="Arial" panose="020B0604020202020204" pitchFamily="34" charset="0"/>
                        </a:rPr>
                        <a:t>(Depreciable amou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Condition Assessment and Projects (not start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Dec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416933">
                <a:tc>
                  <a:txBody>
                    <a:bodyPr/>
                    <a:lstStyle/>
                    <a:p>
                      <a:pPr algn="l" fontAlgn="t"/>
                      <a:r>
                        <a:rPr lang="en-ZA" sz="1000" b="0" i="0" u="none" strike="noStrike" dirty="0">
                          <a:solidFill>
                            <a:schemeClr val="tx1"/>
                          </a:solidFill>
                          <a:effectLst/>
                          <a:latin typeface="Arial" panose="020B0604020202020204" pitchFamily="34" charset="0"/>
                          <a:cs typeface="Arial" panose="020B0604020202020204" pitchFamily="34" charset="0"/>
                        </a:rPr>
                        <a:t>Market valu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Condition Assessme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Dec 2018</a:t>
                      </a:r>
                    </a:p>
                    <a:p>
                      <a:endParaRPr lang="en-US" sz="1700" dirty="0"/>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416933">
                <a:tc>
                  <a:txBody>
                    <a:bodyPr/>
                    <a:lstStyle/>
                    <a:p>
                      <a:pPr algn="l" fontAlgn="t"/>
                      <a:r>
                        <a:rPr lang="en-ZA" sz="1000" b="1" i="0" u="none" strike="noStrike" dirty="0">
                          <a:solidFill>
                            <a:schemeClr val="tx1"/>
                          </a:solidFill>
                          <a:effectLst/>
                          <a:latin typeface="Arial" panose="020B0604020202020204" pitchFamily="34" charset="0"/>
                          <a:cs typeface="Arial" panose="020B0604020202020204" pitchFamily="34" charset="0"/>
                        </a:rPr>
                        <a:t>Master Standard Repor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I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Oct 2018</a:t>
                      </a:r>
                    </a:p>
                    <a:p>
                      <a:endParaRPr lang="en-US" sz="1700" dirty="0"/>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58147">
                <a:tc>
                  <a:txBody>
                    <a:bodyPr/>
                    <a:lstStyle/>
                    <a:p>
                      <a:pPr algn="l" fontAlgn="t"/>
                      <a:r>
                        <a:rPr lang="en-US" sz="1000" b="1" i="0" u="none" strike="noStrike" dirty="0">
                          <a:solidFill>
                            <a:schemeClr val="tx1"/>
                          </a:solidFill>
                          <a:effectLst/>
                          <a:latin typeface="Arial" panose="020B0604020202020204" pitchFamily="34" charset="0"/>
                          <a:cs typeface="Arial" panose="020B0604020202020204" pitchFamily="34" charset="0"/>
                        </a:rPr>
                        <a:t>Financial Asset Register (AG)</a:t>
                      </a:r>
                      <a:endParaRPr lang="en-ZA" sz="1000" b="1" i="0" u="none" strike="noStrike" dirty="0">
                        <a:solidFill>
                          <a:schemeClr val="tx1"/>
                        </a:solidFill>
                        <a:effectLst/>
                        <a:latin typeface="Arial" panose="020B0604020202020204" pitchFamily="34" charset="0"/>
                        <a:cs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000" b="0" i="0" u="none" strike="noStrike" dirty="0">
                          <a:solidFill>
                            <a:srgbClr val="000000"/>
                          </a:solidFill>
                          <a:effectLst/>
                          <a:latin typeface="Arial" panose="020B0604020202020204" pitchFamily="34" charset="0"/>
                          <a:cs typeface="Arial" panose="020B0604020202020204" pitchFamily="34" charset="0"/>
                        </a:rPr>
                        <a:t>I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Oct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427296">
                <a:tc>
                  <a:txBody>
                    <a:bodyPr/>
                    <a:lstStyle/>
                    <a:p>
                      <a:pPr algn="l" fontAlgn="t"/>
                      <a:r>
                        <a:rPr lang="en-ZA" sz="1000" b="1" i="0" u="none" strike="noStrike" dirty="0">
                          <a:solidFill>
                            <a:schemeClr val="tx1"/>
                          </a:solidFill>
                          <a:effectLst/>
                          <a:latin typeface="Arial" panose="020B0604020202020204" pitchFamily="34" charset="0"/>
                          <a:cs typeface="Arial" panose="020B0604020202020204" pitchFamily="34" charset="0"/>
                        </a:rPr>
                        <a:t>Lease  out and in repor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ZA" sz="1000" b="0" i="0" u="none" strike="noStrike" dirty="0">
                          <a:solidFill>
                            <a:srgbClr val="000000"/>
                          </a:solidFill>
                          <a:effectLst/>
                          <a:latin typeface="Arial" panose="020B0604020202020204" pitchFamily="34" charset="0"/>
                          <a:cs typeface="Arial" panose="020B0604020202020204" pitchFamily="34" charset="0"/>
                        </a:rPr>
                        <a:t>IAR and SAGE receivables</a:t>
                      </a:r>
                      <a:r>
                        <a:rPr lang="en-ZA" sz="1000" b="0" i="0" u="none" strike="noStrike" baseline="0" dirty="0">
                          <a:solidFill>
                            <a:srgbClr val="000000"/>
                          </a:solidFill>
                          <a:effectLst/>
                          <a:latin typeface="Arial" panose="020B0604020202020204" pitchFamily="34" charset="0"/>
                          <a:cs typeface="Arial" panose="020B0604020202020204" pitchFamily="34" charset="0"/>
                        </a:rPr>
                        <a:t> (integration)</a:t>
                      </a:r>
                      <a:endParaRPr lang="en-ZA" sz="1000" b="0" i="0" u="none" strike="noStrike" dirty="0">
                        <a:solidFill>
                          <a:srgbClr val="000000"/>
                        </a:solidFill>
                        <a:effectLst/>
                        <a:latin typeface="Arial" panose="020B0604020202020204" pitchFamily="34" charset="0"/>
                        <a:cs typeface="Arial" panose="020B0604020202020204" pitchFamily="34" charset="0"/>
                      </a:endParaRPr>
                    </a:p>
                    <a:p>
                      <a:pPr algn="l" fontAlgn="b"/>
                      <a:endParaRPr lang="en-ZA" sz="1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algn="ctr" defTabSz="914400" rtl="0" eaLnBrk="1" fontAlgn="b" latinLnBrk="0" hangingPunct="1"/>
                      <a:r>
                        <a:rPr lang="en-ZA" sz="1000" b="0" i="0" u="none" strike="noStrike" kern="1200" dirty="0">
                          <a:solidFill>
                            <a:srgbClr val="000000"/>
                          </a:solidFill>
                          <a:effectLst/>
                          <a:latin typeface="Arial" panose="020B0604020202020204" pitchFamily="34" charset="0"/>
                          <a:ea typeface="+mn-ea"/>
                          <a:cs typeface="Arial" panose="020B0604020202020204" pitchFamily="34" charset="0"/>
                        </a:rPr>
                        <a:t>Oct 20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102095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8FC1ABC7-7636-A2A6-BC4F-489C96C9305D}"/>
              </a:ext>
            </a:extLst>
          </p:cNvPr>
          <p:cNvSpPr>
            <a:spLocks noGrp="1"/>
          </p:cNvSpPr>
          <p:nvPr>
            <p:ph type="title"/>
          </p:nvPr>
        </p:nvSpPr>
        <p:spPr bwMode="auto">
          <a:xfrm>
            <a:off x="1028105" y="2820974"/>
            <a:ext cx="9920134" cy="681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pPr algn="ctr"/>
            <a:r>
              <a:rPr lang="en-US" altLang="en-US" sz="3396" b="1" dirty="0">
                <a:solidFill>
                  <a:schemeClr val="tx1"/>
                </a:solidFill>
              </a:rPr>
              <a:t>           SAGE System</a:t>
            </a:r>
          </a:p>
        </p:txBody>
      </p:sp>
    </p:spTree>
    <p:extLst>
      <p:ext uri="{BB962C8B-B14F-4D97-AF65-F5344CB8AC3E}">
        <p14:creationId xmlns:p14="http://schemas.microsoft.com/office/powerpoint/2010/main" val="390195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a:extLst>
              <a:ext uri="{FF2B5EF4-FFF2-40B4-BE49-F238E27FC236}">
                <a16:creationId xmlns:a16="http://schemas.microsoft.com/office/drawing/2014/main" id="{08A75797-F440-5CC2-9C82-1C392F070AA3}"/>
              </a:ext>
            </a:extLst>
          </p:cNvPr>
          <p:cNvSpPr>
            <a:spLocks noGrp="1"/>
          </p:cNvSpPr>
          <p:nvPr>
            <p:ph type="title"/>
          </p:nvPr>
        </p:nvSpPr>
        <p:spPr bwMode="auto">
          <a:xfrm>
            <a:off x="1028104" y="162232"/>
            <a:ext cx="11316295" cy="1179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r>
              <a:rPr lang="en-US" altLang="en-US" sz="3396" dirty="0"/>
              <a:t>CURRENT SAGE MODULES IN PRODUCTION SINCE 2014</a:t>
            </a:r>
          </a:p>
        </p:txBody>
      </p:sp>
      <p:graphicFrame>
        <p:nvGraphicFramePr>
          <p:cNvPr id="19" name="Table 18">
            <a:extLst>
              <a:ext uri="{FF2B5EF4-FFF2-40B4-BE49-F238E27FC236}">
                <a16:creationId xmlns:a16="http://schemas.microsoft.com/office/drawing/2014/main" id="{A9FF4C94-9C36-F1B2-3BD3-22B895E88718}"/>
              </a:ext>
            </a:extLst>
          </p:cNvPr>
          <p:cNvGraphicFramePr>
            <a:graphicFrameLocks noGrp="1"/>
          </p:cNvGraphicFramePr>
          <p:nvPr>
            <p:extLst>
              <p:ext uri="{D42A27DB-BD31-4B8C-83A1-F6EECF244321}">
                <p14:modId xmlns:p14="http://schemas.microsoft.com/office/powerpoint/2010/main" val="4003029426"/>
              </p:ext>
            </p:extLst>
          </p:nvPr>
        </p:nvGraphicFramePr>
        <p:xfrm>
          <a:off x="835181" y="1576396"/>
          <a:ext cx="10521638" cy="4327473"/>
        </p:xfrm>
        <a:graphic>
          <a:graphicData uri="http://schemas.openxmlformats.org/drawingml/2006/table">
            <a:tbl>
              <a:tblPr firstRow="1" bandRow="1">
                <a:tableStyleId>{3C2FFA5D-87B4-456A-9821-1D502468CF0F}</a:tableStyleId>
              </a:tblPr>
              <a:tblGrid>
                <a:gridCol w="4312755">
                  <a:extLst>
                    <a:ext uri="{9D8B030D-6E8A-4147-A177-3AD203B41FA5}">
                      <a16:colId xmlns:a16="http://schemas.microsoft.com/office/drawing/2014/main" val="20000"/>
                    </a:ext>
                  </a:extLst>
                </a:gridCol>
                <a:gridCol w="6208883">
                  <a:extLst>
                    <a:ext uri="{9D8B030D-6E8A-4147-A177-3AD203B41FA5}">
                      <a16:colId xmlns:a16="http://schemas.microsoft.com/office/drawing/2014/main" val="20001"/>
                    </a:ext>
                  </a:extLst>
                </a:gridCol>
              </a:tblGrid>
              <a:tr h="432747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kern="1200" dirty="0">
                          <a:solidFill>
                            <a:schemeClr val="tx1"/>
                          </a:solidFill>
                        </a:rPr>
                        <a:t>Available Functionality</a:t>
                      </a:r>
                      <a:endParaRPr lang="en-ZA" sz="2000" b="1" kern="1200" dirty="0">
                        <a:solidFill>
                          <a:schemeClr val="tx1"/>
                        </a:solidFill>
                        <a:latin typeface="+mn-lt"/>
                        <a:ea typeface="+mn-ea"/>
                        <a:cs typeface="+mn-cs"/>
                      </a:endParaRPr>
                    </a:p>
                  </a:txBody>
                  <a:tcPr marL="86256" marR="86256" marT="43127" marB="43127"/>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kern="1200" dirty="0">
                          <a:solidFill>
                            <a:schemeClr val="tx1"/>
                          </a:solidFill>
                        </a:rPr>
                        <a:t>Accounts Payable</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b="0" kern="1200" dirty="0">
                        <a:solidFill>
                          <a:schemeClr val="tx1"/>
                        </a:solidFill>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kern="1200" dirty="0">
                          <a:solidFill>
                            <a:schemeClr val="tx1"/>
                          </a:solidFill>
                        </a:rPr>
                        <a:t>Accounts Receivabl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b="0" kern="1200" dirty="0">
                        <a:solidFill>
                          <a:schemeClr val="tx1"/>
                        </a:solidFill>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kern="1200" dirty="0">
                          <a:solidFill>
                            <a:schemeClr val="tx1"/>
                          </a:solidFill>
                        </a:rPr>
                        <a:t>Financial reporting (Trial balance, Bank recon etc.)</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b="0" kern="1200" dirty="0">
                        <a:solidFill>
                          <a:schemeClr val="tx1"/>
                        </a:solidFill>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kern="1200" dirty="0">
                          <a:solidFill>
                            <a:schemeClr val="tx1"/>
                          </a:solidFill>
                        </a:rPr>
                        <a:t>Process Interfaces from WCS and PMIS (Payments/Journal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kern="1200" dirty="0">
                          <a:solidFill>
                            <a:schemeClr val="tx1"/>
                          </a:solidFill>
                        </a:rPr>
                        <a:t>Interface with </a:t>
                      </a:r>
                      <a:r>
                        <a:rPr lang="en-US" sz="2000" b="0" kern="1200" dirty="0" err="1">
                          <a:solidFill>
                            <a:schemeClr val="tx1"/>
                          </a:solidFill>
                        </a:rPr>
                        <a:t>Archibus</a:t>
                      </a:r>
                      <a:r>
                        <a:rPr lang="en-US" sz="2000" b="0" kern="1200" dirty="0">
                          <a:solidFill>
                            <a:schemeClr val="tx1"/>
                          </a:solidFill>
                        </a:rPr>
                        <a:t> </a:t>
                      </a:r>
                      <a:r>
                        <a:rPr lang="en-US" sz="2000" b="0" kern="1200" dirty="0" err="1">
                          <a:solidFill>
                            <a:schemeClr val="tx1"/>
                          </a:solidFill>
                        </a:rPr>
                        <a:t>LeaseIN</a:t>
                      </a:r>
                      <a:r>
                        <a:rPr lang="en-US" sz="2000" b="0" kern="1200" dirty="0">
                          <a:solidFill>
                            <a:schemeClr val="tx1"/>
                          </a:solidFill>
                        </a:rPr>
                        <a:t>, </a:t>
                      </a:r>
                      <a:r>
                        <a:rPr lang="en-US" sz="2000" b="0" kern="1200" dirty="0" err="1">
                          <a:solidFill>
                            <a:schemeClr val="tx1"/>
                          </a:solidFill>
                        </a:rPr>
                        <a:t>Persal</a:t>
                      </a:r>
                      <a:r>
                        <a:rPr lang="en-US" sz="2000" b="0" kern="1200" dirty="0">
                          <a:solidFill>
                            <a:schemeClr val="tx1"/>
                          </a:solidFill>
                        </a:rPr>
                        <a:t>, CSD</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kern="1200" dirty="0">
                          <a:solidFill>
                            <a:schemeClr val="tx1"/>
                          </a:solidFill>
                        </a:rPr>
                        <a:t>Variable payment (Training Pending appointment of a new service provider</a:t>
                      </a:r>
                      <a:br>
                        <a:rPr lang="en-US" sz="2000" b="0" kern="1200" dirty="0">
                          <a:solidFill>
                            <a:schemeClr val="tx1"/>
                          </a:solidFill>
                        </a:rPr>
                      </a:br>
                      <a:endParaRPr lang="en-US" sz="2000" b="0" kern="1200" dirty="0">
                        <a:solidFill>
                          <a:schemeClr val="tx1"/>
                        </a:solidFill>
                        <a:latin typeface="+mn-lt"/>
                        <a:ea typeface="+mn-ea"/>
                        <a:cs typeface="+mn-cs"/>
                      </a:endParaRPr>
                    </a:p>
                  </a:txBody>
                  <a:tcPr marL="86256" marR="86256" marT="43127" marB="43127"/>
                </a:tc>
                <a:extLst>
                  <a:ext uri="{0D108BD9-81ED-4DB2-BD59-A6C34878D82A}">
                    <a16:rowId xmlns:a16="http://schemas.microsoft.com/office/drawing/2014/main" val="10000"/>
                  </a:ext>
                </a:extLst>
              </a:tr>
            </a:tbl>
          </a:graphicData>
        </a:graphic>
      </p:graphicFrame>
      <p:sp>
        <p:nvSpPr>
          <p:cNvPr id="64523" name="TextBox 8">
            <a:extLst>
              <a:ext uri="{FF2B5EF4-FFF2-40B4-BE49-F238E27FC236}">
                <a16:creationId xmlns:a16="http://schemas.microsoft.com/office/drawing/2014/main" id="{E19B6C61-BF84-1416-C239-01BE285426C3}"/>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44</a:t>
            </a:r>
            <a:endParaRPr lang="en-US" altLang="en-US" sz="1698" dirty="0"/>
          </a:p>
        </p:txBody>
      </p:sp>
    </p:spTree>
    <p:extLst>
      <p:ext uri="{BB962C8B-B14F-4D97-AF65-F5344CB8AC3E}">
        <p14:creationId xmlns:p14="http://schemas.microsoft.com/office/powerpoint/2010/main" val="280674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8FC1ABC7-7636-A2A6-BC4F-489C96C9305D}"/>
              </a:ext>
            </a:extLst>
          </p:cNvPr>
          <p:cNvSpPr>
            <a:spLocks noGrp="1"/>
          </p:cNvSpPr>
          <p:nvPr>
            <p:ph type="title"/>
          </p:nvPr>
        </p:nvSpPr>
        <p:spPr bwMode="auto">
          <a:xfrm>
            <a:off x="325976" y="665603"/>
            <a:ext cx="9920134" cy="681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pPr algn="ctr"/>
            <a:r>
              <a:rPr lang="en-US" altLang="en-US" sz="3396" b="1" dirty="0">
                <a:solidFill>
                  <a:schemeClr val="tx1"/>
                </a:solidFill>
              </a:rPr>
              <a:t>Project Expenditure</a:t>
            </a:r>
          </a:p>
        </p:txBody>
      </p:sp>
      <p:sp>
        <p:nvSpPr>
          <p:cNvPr id="2" name="TextBox 1">
            <a:extLst>
              <a:ext uri="{FF2B5EF4-FFF2-40B4-BE49-F238E27FC236}">
                <a16:creationId xmlns:a16="http://schemas.microsoft.com/office/drawing/2014/main" id="{937B32E5-A0E8-236C-0AAB-3AE7046028BE}"/>
              </a:ext>
            </a:extLst>
          </p:cNvPr>
          <p:cNvSpPr txBox="1"/>
          <p:nvPr/>
        </p:nvSpPr>
        <p:spPr>
          <a:xfrm>
            <a:off x="1159328" y="2106386"/>
            <a:ext cx="10760529" cy="3139321"/>
          </a:xfrm>
          <a:prstGeom prst="rect">
            <a:avLst/>
          </a:prstGeom>
          <a:noFill/>
        </p:spPr>
        <p:txBody>
          <a:bodyPr wrap="square" rtlCol="0">
            <a:spAutoFit/>
          </a:bodyPr>
          <a:lstStyle/>
          <a:p>
            <a:r>
              <a:rPr lang="en-US" dirty="0"/>
              <a:t>ERP Projects are by their nature time sensitive projects, delays like unavailability of</a:t>
            </a:r>
          </a:p>
          <a:p>
            <a:r>
              <a:rPr lang="en-US" dirty="0"/>
              <a:t>Stakeholders, Lack of Executive support, poor project governance, unavailability of approved </a:t>
            </a:r>
          </a:p>
          <a:p>
            <a:r>
              <a:rPr lang="en-US" dirty="0"/>
              <a:t>business processes, inadequate change management and poor project finance management </a:t>
            </a:r>
          </a:p>
          <a:p>
            <a:pPr marL="285750" indent="-285750">
              <a:buFontTx/>
              <a:buChar char="-"/>
            </a:pPr>
            <a:r>
              <a:rPr lang="en-US" dirty="0"/>
              <a:t>All have a huge impact on the </a:t>
            </a:r>
            <a:r>
              <a:rPr lang="en-US" dirty="0" err="1"/>
              <a:t>delivarables</a:t>
            </a:r>
            <a:r>
              <a:rPr lang="en-US" dirty="0"/>
              <a:t> and the project scope. </a:t>
            </a:r>
          </a:p>
          <a:p>
            <a:pPr marL="285750" indent="-285750">
              <a:buFontTx/>
              <a:buChar char="-"/>
            </a:pPr>
            <a:r>
              <a:rPr lang="en-US" dirty="0"/>
              <a:t>However, the lessons learn increases the opportunity and the probability of a successful implementation this time around. </a:t>
            </a:r>
          </a:p>
          <a:p>
            <a:pPr marL="285750" indent="-285750">
              <a:buFontTx/>
              <a:buChar char="-"/>
            </a:pPr>
            <a:r>
              <a:rPr lang="en-US" dirty="0"/>
              <a:t>Slide 46 -47 is project expenditure to-date  </a:t>
            </a:r>
          </a:p>
          <a:p>
            <a:pPr marL="285750" indent="-285750">
              <a:buFontTx/>
              <a:buChar char="-"/>
            </a:pPr>
            <a:r>
              <a:rPr lang="en-US" dirty="0"/>
              <a:t>Slide 48 are the project risks identified from the previous implementation</a:t>
            </a:r>
          </a:p>
          <a:p>
            <a:pPr marL="285750" indent="-285750">
              <a:buFontTx/>
              <a:buChar char="-"/>
            </a:pPr>
            <a:r>
              <a:rPr lang="en-US" dirty="0"/>
              <a:t>Slide 49 is the SAGE- </a:t>
            </a:r>
            <a:r>
              <a:rPr lang="en-US" dirty="0" err="1"/>
              <a:t>Archibus</a:t>
            </a:r>
            <a:r>
              <a:rPr lang="en-US" dirty="0"/>
              <a:t> high level implementation Plan </a:t>
            </a:r>
          </a:p>
          <a:p>
            <a:pPr marL="285750" indent="-285750">
              <a:buFontTx/>
              <a:buChar char="-"/>
            </a:pPr>
            <a:r>
              <a:rPr lang="en-US" dirty="0"/>
              <a:t>Slide 50 is the </a:t>
            </a:r>
            <a:r>
              <a:rPr lang="en-US" dirty="0" err="1"/>
              <a:t>Archibus</a:t>
            </a:r>
            <a:r>
              <a:rPr lang="en-US" dirty="0"/>
              <a:t> high level implementation Plan. The Detail breakdown will be avail after engagement with the systems module owners.</a:t>
            </a:r>
          </a:p>
        </p:txBody>
      </p:sp>
    </p:spTree>
    <p:extLst>
      <p:ext uri="{BB962C8B-B14F-4D97-AF65-F5344CB8AC3E}">
        <p14:creationId xmlns:p14="http://schemas.microsoft.com/office/powerpoint/2010/main" val="9219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26525" y="533090"/>
            <a:ext cx="10440931" cy="949401"/>
          </a:xfrm>
        </p:spPr>
        <p:txBody>
          <a:bodyPr>
            <a:normAutofit/>
          </a:bodyPr>
          <a:lstStyle/>
          <a:p>
            <a:r>
              <a:rPr lang="en-ZA" sz="3916" b="1" dirty="0">
                <a:latin typeface="Arial Narrow" pitchFamily="34" charset="0"/>
              </a:rPr>
              <a:t>ARCHIBUS Project Expenditure</a:t>
            </a:r>
            <a:endParaRPr lang="en-ZA" dirty="0"/>
          </a:p>
        </p:txBody>
      </p:sp>
      <p:graphicFrame>
        <p:nvGraphicFramePr>
          <p:cNvPr id="8" name="Content Placeholder 2"/>
          <p:cNvGraphicFramePr>
            <a:graphicFrameLocks noGrp="1"/>
          </p:cNvGraphicFramePr>
          <p:nvPr>
            <p:ph idx="1"/>
          </p:nvPr>
        </p:nvGraphicFramePr>
        <p:xfrm>
          <a:off x="6609356" y="2349815"/>
          <a:ext cx="5050235" cy="1081098"/>
        </p:xfrm>
        <a:graphic>
          <a:graphicData uri="http://schemas.openxmlformats.org/drawingml/2006/table">
            <a:tbl>
              <a:tblPr>
                <a:tableStyleId>{5C22544A-7EE6-4342-B048-85BDC9FD1C3A}</a:tableStyleId>
              </a:tblPr>
              <a:tblGrid>
                <a:gridCol w="2968126">
                  <a:extLst>
                    <a:ext uri="{9D8B030D-6E8A-4147-A177-3AD203B41FA5}">
                      <a16:colId xmlns:a16="http://schemas.microsoft.com/office/drawing/2014/main" val="20000"/>
                    </a:ext>
                  </a:extLst>
                </a:gridCol>
                <a:gridCol w="2082109">
                  <a:extLst>
                    <a:ext uri="{9D8B030D-6E8A-4147-A177-3AD203B41FA5}">
                      <a16:colId xmlns:a16="http://schemas.microsoft.com/office/drawing/2014/main" val="20001"/>
                    </a:ext>
                  </a:extLst>
                </a:gridCol>
              </a:tblGrid>
              <a:tr h="402061">
                <a:tc>
                  <a:txBody>
                    <a:bodyPr/>
                    <a:lstStyle/>
                    <a:p>
                      <a:pPr algn="l" fontAlgn="ctr"/>
                      <a:r>
                        <a:rPr lang="en-ZA" sz="2200" b="1" u="none" strike="noStrike" dirty="0">
                          <a:effectLst/>
                        </a:rPr>
                        <a:t>Award Amount </a:t>
                      </a:r>
                    </a:p>
                  </a:txBody>
                  <a:tcPr marL="8477" marR="8477" marT="8477" marB="0" anchor="ctr"/>
                </a:tc>
                <a:tc>
                  <a:txBody>
                    <a:bodyPr/>
                    <a:lstStyle/>
                    <a:p>
                      <a:pPr marL="0" marR="0" lvl="0" indent="0" algn="l" defTabSz="725759" rtl="0" eaLnBrk="1" fontAlgn="ctr" latinLnBrk="0" hangingPunct="1">
                        <a:lnSpc>
                          <a:spcPct val="100000"/>
                        </a:lnSpc>
                        <a:spcBef>
                          <a:spcPts val="0"/>
                        </a:spcBef>
                        <a:spcAft>
                          <a:spcPts val="0"/>
                        </a:spcAft>
                        <a:buClrTx/>
                        <a:buSzTx/>
                        <a:buFontTx/>
                        <a:buNone/>
                        <a:tabLst/>
                        <a:defRPr/>
                      </a:pPr>
                      <a:r>
                        <a:rPr lang="en-ZA" sz="2200" b="1" u="none" strike="noStrike" kern="1200" dirty="0">
                          <a:solidFill>
                            <a:schemeClr val="dk1"/>
                          </a:solidFill>
                          <a:effectLst/>
                          <a:latin typeface="+mn-lt"/>
                          <a:ea typeface="+mn-ea"/>
                          <a:cs typeface="+mn-cs"/>
                        </a:rPr>
                        <a:t>R 22 895 092.00</a:t>
                      </a:r>
                    </a:p>
                  </a:txBody>
                  <a:tcPr marL="8477" marR="8477" marT="8477" marB="0" anchor="ctr"/>
                </a:tc>
                <a:extLst>
                  <a:ext uri="{0D108BD9-81ED-4DB2-BD59-A6C34878D82A}">
                    <a16:rowId xmlns:a16="http://schemas.microsoft.com/office/drawing/2014/main" val="10000"/>
                  </a:ext>
                </a:extLst>
              </a:tr>
              <a:tr h="669819">
                <a:tc>
                  <a:txBody>
                    <a:bodyPr/>
                    <a:lstStyle/>
                    <a:p>
                      <a:pPr algn="l" fontAlgn="ctr"/>
                      <a:r>
                        <a:rPr lang="en-ZA" sz="2200" b="1" u="none" strike="noStrike" kern="1200" dirty="0">
                          <a:solidFill>
                            <a:schemeClr val="dk1"/>
                          </a:solidFill>
                          <a:effectLst/>
                          <a:latin typeface="+mn-lt"/>
                          <a:ea typeface="+mn-ea"/>
                          <a:cs typeface="+mn-cs"/>
                        </a:rPr>
                        <a:t>Total Expenditure at End</a:t>
                      </a:r>
                      <a:r>
                        <a:rPr lang="en-ZA" sz="2200" b="1" u="none" strike="noStrike" kern="1200" baseline="0" dirty="0">
                          <a:solidFill>
                            <a:schemeClr val="dk1"/>
                          </a:solidFill>
                          <a:effectLst/>
                          <a:latin typeface="+mn-lt"/>
                          <a:ea typeface="+mn-ea"/>
                          <a:cs typeface="+mn-cs"/>
                        </a:rPr>
                        <a:t> of Contract</a:t>
                      </a:r>
                      <a:endParaRPr lang="en-ZA" sz="2200" b="1" u="none" strike="noStrike" kern="1200" dirty="0">
                        <a:solidFill>
                          <a:schemeClr val="dk1"/>
                        </a:solidFill>
                        <a:effectLst/>
                        <a:latin typeface="+mn-lt"/>
                        <a:ea typeface="+mn-ea"/>
                        <a:cs typeface="+mn-cs"/>
                      </a:endParaRPr>
                    </a:p>
                  </a:txBody>
                  <a:tcPr marL="8477" marR="8477" marT="8477" marB="0" anchor="ctr"/>
                </a:tc>
                <a:tc>
                  <a:txBody>
                    <a:bodyPr/>
                    <a:lstStyle/>
                    <a:p>
                      <a:pPr algn="l" fontAlgn="ctr"/>
                      <a:r>
                        <a:rPr lang="en-ZA" sz="2200" b="1" u="none" strike="noStrike" kern="1200" dirty="0">
                          <a:solidFill>
                            <a:schemeClr val="dk1"/>
                          </a:solidFill>
                          <a:effectLst/>
                          <a:latin typeface="+mn-lt"/>
                          <a:ea typeface="+mn-ea"/>
                          <a:cs typeface="+mn-cs"/>
                        </a:rPr>
                        <a:t>R 19 848933.46</a:t>
                      </a:r>
                    </a:p>
                  </a:txBody>
                  <a:tcPr marL="8477" marR="8477" marT="8477" marB="0" anchor="ctr"/>
                </a:tc>
                <a:extLst>
                  <a:ext uri="{0D108BD9-81ED-4DB2-BD59-A6C34878D82A}">
                    <a16:rowId xmlns:a16="http://schemas.microsoft.com/office/drawing/2014/main" val="10001"/>
                  </a:ext>
                </a:extLst>
              </a:tr>
            </a:tbl>
          </a:graphicData>
        </a:graphic>
      </p:graphicFrame>
      <p:graphicFrame>
        <p:nvGraphicFramePr>
          <p:cNvPr id="7" name="Content Placeholder 2"/>
          <p:cNvGraphicFramePr>
            <a:graphicFrameLocks/>
          </p:cNvGraphicFramePr>
          <p:nvPr/>
        </p:nvGraphicFramePr>
        <p:xfrm>
          <a:off x="920327" y="2373677"/>
          <a:ext cx="5050235" cy="1081098"/>
        </p:xfrm>
        <a:graphic>
          <a:graphicData uri="http://schemas.openxmlformats.org/drawingml/2006/table">
            <a:tbl>
              <a:tblPr>
                <a:tableStyleId>{5C22544A-7EE6-4342-B048-85BDC9FD1C3A}</a:tableStyleId>
              </a:tblPr>
              <a:tblGrid>
                <a:gridCol w="2968126">
                  <a:extLst>
                    <a:ext uri="{9D8B030D-6E8A-4147-A177-3AD203B41FA5}">
                      <a16:colId xmlns:a16="http://schemas.microsoft.com/office/drawing/2014/main" val="20000"/>
                    </a:ext>
                  </a:extLst>
                </a:gridCol>
                <a:gridCol w="2082109">
                  <a:extLst>
                    <a:ext uri="{9D8B030D-6E8A-4147-A177-3AD203B41FA5}">
                      <a16:colId xmlns:a16="http://schemas.microsoft.com/office/drawing/2014/main" val="20001"/>
                    </a:ext>
                  </a:extLst>
                </a:gridCol>
              </a:tblGrid>
              <a:tr h="402061">
                <a:tc>
                  <a:txBody>
                    <a:bodyPr/>
                    <a:lstStyle/>
                    <a:p>
                      <a:pPr algn="l" fontAlgn="ctr"/>
                      <a:r>
                        <a:rPr lang="en-ZA" sz="2200" b="1" u="none" strike="noStrike" dirty="0">
                          <a:effectLst/>
                        </a:rPr>
                        <a:t>Award Amount </a:t>
                      </a:r>
                    </a:p>
                  </a:txBody>
                  <a:tcPr marL="8477" marR="8477" marT="8477" marB="0" anchor="ctr"/>
                </a:tc>
                <a:tc>
                  <a:txBody>
                    <a:bodyPr/>
                    <a:lstStyle/>
                    <a:p>
                      <a:pPr marL="0" marR="0" lvl="0" indent="0" algn="l" defTabSz="725759" rtl="0" eaLnBrk="1" fontAlgn="ctr" latinLnBrk="0" hangingPunct="1">
                        <a:lnSpc>
                          <a:spcPct val="100000"/>
                        </a:lnSpc>
                        <a:spcBef>
                          <a:spcPts val="0"/>
                        </a:spcBef>
                        <a:spcAft>
                          <a:spcPts val="0"/>
                        </a:spcAft>
                        <a:buClrTx/>
                        <a:buSzTx/>
                        <a:buFontTx/>
                        <a:buNone/>
                        <a:tabLst/>
                        <a:defRPr/>
                      </a:pPr>
                      <a:r>
                        <a:rPr lang="en-ZA" sz="2200" b="1" u="none" strike="noStrike" kern="1200" dirty="0">
                          <a:solidFill>
                            <a:schemeClr val="dk1"/>
                          </a:solidFill>
                          <a:effectLst/>
                          <a:latin typeface="+mn-lt"/>
                          <a:ea typeface="+mn-ea"/>
                          <a:cs typeface="+mn-cs"/>
                        </a:rPr>
                        <a:t>R 22 017 515.86</a:t>
                      </a:r>
                    </a:p>
                  </a:txBody>
                  <a:tcPr marL="8477" marR="8477" marT="8477" marB="0" anchor="ctr"/>
                </a:tc>
                <a:extLst>
                  <a:ext uri="{0D108BD9-81ED-4DB2-BD59-A6C34878D82A}">
                    <a16:rowId xmlns:a16="http://schemas.microsoft.com/office/drawing/2014/main" val="10000"/>
                  </a:ext>
                </a:extLst>
              </a:tr>
              <a:tr h="669819">
                <a:tc>
                  <a:txBody>
                    <a:bodyPr/>
                    <a:lstStyle/>
                    <a:p>
                      <a:pPr algn="l" fontAlgn="ctr"/>
                      <a:r>
                        <a:rPr lang="en-ZA" sz="2200" b="1" u="none" strike="noStrike" kern="1200" dirty="0">
                          <a:solidFill>
                            <a:schemeClr val="dk1"/>
                          </a:solidFill>
                          <a:effectLst/>
                          <a:latin typeface="+mn-lt"/>
                          <a:ea typeface="+mn-ea"/>
                          <a:cs typeface="+mn-cs"/>
                        </a:rPr>
                        <a:t>Total Expenditure at End</a:t>
                      </a:r>
                      <a:r>
                        <a:rPr lang="en-ZA" sz="2200" b="1" u="none" strike="noStrike" kern="1200" baseline="0" dirty="0">
                          <a:solidFill>
                            <a:schemeClr val="dk1"/>
                          </a:solidFill>
                          <a:effectLst/>
                          <a:latin typeface="+mn-lt"/>
                          <a:ea typeface="+mn-ea"/>
                          <a:cs typeface="+mn-cs"/>
                        </a:rPr>
                        <a:t> of Contract</a:t>
                      </a:r>
                      <a:endParaRPr lang="en-ZA" sz="2200" b="1" u="none" strike="noStrike" kern="1200" dirty="0">
                        <a:solidFill>
                          <a:schemeClr val="dk1"/>
                        </a:solidFill>
                        <a:effectLst/>
                        <a:latin typeface="+mn-lt"/>
                        <a:ea typeface="+mn-ea"/>
                        <a:cs typeface="+mn-cs"/>
                      </a:endParaRPr>
                    </a:p>
                  </a:txBody>
                  <a:tcPr marL="8477" marR="8477" marT="8477" marB="0" anchor="ctr"/>
                </a:tc>
                <a:tc>
                  <a:txBody>
                    <a:bodyPr/>
                    <a:lstStyle/>
                    <a:p>
                      <a:pPr algn="l" fontAlgn="ctr"/>
                      <a:r>
                        <a:rPr lang="en-ZA" sz="2200" b="1" u="none" strike="noStrike" kern="1200" dirty="0">
                          <a:solidFill>
                            <a:schemeClr val="dk1"/>
                          </a:solidFill>
                          <a:effectLst/>
                          <a:latin typeface="+mn-lt"/>
                          <a:ea typeface="+mn-ea"/>
                          <a:cs typeface="+mn-cs"/>
                        </a:rPr>
                        <a:t>R 16 500 027.78</a:t>
                      </a:r>
                    </a:p>
                  </a:txBody>
                  <a:tcPr marL="8477" marR="8477" marT="8477" marB="0" anchor="ctr"/>
                </a:tc>
                <a:extLst>
                  <a:ext uri="{0D108BD9-81ED-4DB2-BD59-A6C34878D82A}">
                    <a16:rowId xmlns:a16="http://schemas.microsoft.com/office/drawing/2014/main" val="10001"/>
                  </a:ext>
                </a:extLst>
              </a:tr>
            </a:tbl>
          </a:graphicData>
        </a:graphic>
      </p:graphicFrame>
      <p:sp>
        <p:nvSpPr>
          <p:cNvPr id="3" name="Rectangle 2"/>
          <p:cNvSpPr/>
          <p:nvPr/>
        </p:nvSpPr>
        <p:spPr>
          <a:xfrm>
            <a:off x="6552580" y="1758873"/>
            <a:ext cx="5090811" cy="510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98" dirty="0"/>
              <a:t>ALCM</a:t>
            </a:r>
          </a:p>
        </p:txBody>
      </p:sp>
      <p:sp>
        <p:nvSpPr>
          <p:cNvPr id="9" name="Rectangle 8"/>
          <p:cNvSpPr/>
          <p:nvPr/>
        </p:nvSpPr>
        <p:spPr>
          <a:xfrm>
            <a:off x="879750" y="1758873"/>
            <a:ext cx="5090811" cy="510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98" dirty="0"/>
              <a:t>LDM</a:t>
            </a:r>
          </a:p>
        </p:txBody>
      </p:sp>
    </p:spTree>
    <p:extLst>
      <p:ext uri="{BB962C8B-B14F-4D97-AF65-F5344CB8AC3E}">
        <p14:creationId xmlns:p14="http://schemas.microsoft.com/office/powerpoint/2010/main" val="2194933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6607" y="697078"/>
            <a:ext cx="6153858" cy="895639"/>
          </a:xfrm>
        </p:spPr>
        <p:txBody>
          <a:bodyPr>
            <a:normAutofit/>
          </a:bodyPr>
          <a:lstStyle/>
          <a:p>
            <a:r>
              <a:rPr lang="en-ZA" sz="3694" b="1" dirty="0">
                <a:latin typeface="Arial Narrow" pitchFamily="34" charset="0"/>
              </a:rPr>
              <a:t>SAGE Project Expenditure</a:t>
            </a:r>
            <a:endParaRPr lang="en-ZA" dirty="0"/>
          </a:p>
        </p:txBody>
      </p:sp>
      <p:graphicFrame>
        <p:nvGraphicFramePr>
          <p:cNvPr id="7" name="Content Placeholder 2"/>
          <p:cNvGraphicFramePr>
            <a:graphicFrameLocks/>
          </p:cNvGraphicFramePr>
          <p:nvPr>
            <p:extLst>
              <p:ext uri="{D42A27DB-BD31-4B8C-83A1-F6EECF244321}">
                <p14:modId xmlns:p14="http://schemas.microsoft.com/office/powerpoint/2010/main" val="4245659033"/>
              </p:ext>
            </p:extLst>
          </p:nvPr>
        </p:nvGraphicFramePr>
        <p:xfrm>
          <a:off x="762001" y="2787808"/>
          <a:ext cx="5247380" cy="1913758"/>
        </p:xfrm>
        <a:graphic>
          <a:graphicData uri="http://schemas.openxmlformats.org/drawingml/2006/table">
            <a:tbl>
              <a:tblPr>
                <a:tableStyleId>{5C22544A-7EE6-4342-B048-85BDC9FD1C3A}</a:tableStyleId>
              </a:tblPr>
              <a:tblGrid>
                <a:gridCol w="2536370">
                  <a:extLst>
                    <a:ext uri="{9D8B030D-6E8A-4147-A177-3AD203B41FA5}">
                      <a16:colId xmlns:a16="http://schemas.microsoft.com/office/drawing/2014/main" val="20000"/>
                    </a:ext>
                  </a:extLst>
                </a:gridCol>
                <a:gridCol w="2711010">
                  <a:extLst>
                    <a:ext uri="{9D8B030D-6E8A-4147-A177-3AD203B41FA5}">
                      <a16:colId xmlns:a16="http://schemas.microsoft.com/office/drawing/2014/main" val="20001"/>
                    </a:ext>
                  </a:extLst>
                </a:gridCol>
              </a:tblGrid>
              <a:tr h="640585">
                <a:tc>
                  <a:txBody>
                    <a:bodyPr/>
                    <a:lstStyle/>
                    <a:p>
                      <a:pPr algn="l" fontAlgn="ctr"/>
                      <a:r>
                        <a:rPr lang="en-ZA" sz="2100" b="1" u="none" strike="noStrike" dirty="0">
                          <a:effectLst/>
                        </a:rPr>
                        <a:t>Award Amount </a:t>
                      </a:r>
                    </a:p>
                  </a:txBody>
                  <a:tcPr marL="7997" marR="7997" marT="7997" marB="0" anchor="ctr"/>
                </a:tc>
                <a:tc>
                  <a:txBody>
                    <a:bodyPr/>
                    <a:lstStyle/>
                    <a:p>
                      <a:pPr marL="0" marR="0" lvl="0" indent="0" algn="l" defTabSz="725759" rtl="0" eaLnBrk="1" fontAlgn="ctr" latinLnBrk="0" hangingPunct="1">
                        <a:lnSpc>
                          <a:spcPct val="100000"/>
                        </a:lnSpc>
                        <a:spcBef>
                          <a:spcPts val="0"/>
                        </a:spcBef>
                        <a:spcAft>
                          <a:spcPts val="0"/>
                        </a:spcAft>
                        <a:buClrTx/>
                        <a:buSzTx/>
                        <a:buFontTx/>
                        <a:buNone/>
                        <a:tabLst/>
                        <a:defRPr/>
                      </a:pPr>
                      <a:r>
                        <a:rPr lang="en-ZA" sz="2100" b="1" u="none" strike="noStrike" kern="1200" dirty="0">
                          <a:solidFill>
                            <a:schemeClr val="dk1"/>
                          </a:solidFill>
                          <a:effectLst/>
                          <a:latin typeface="+mn-lt"/>
                          <a:ea typeface="+mn-ea"/>
                          <a:cs typeface="+mn-cs"/>
                        </a:rPr>
                        <a:t>R18 223 481,72</a:t>
                      </a:r>
                    </a:p>
                  </a:txBody>
                  <a:tcPr marL="7997" marR="7997" marT="7997" marB="0" anchor="ctr"/>
                </a:tc>
                <a:extLst>
                  <a:ext uri="{0D108BD9-81ED-4DB2-BD59-A6C34878D82A}">
                    <a16:rowId xmlns:a16="http://schemas.microsoft.com/office/drawing/2014/main" val="10000"/>
                  </a:ext>
                </a:extLst>
              </a:tr>
              <a:tr h="1273173">
                <a:tc>
                  <a:txBody>
                    <a:bodyPr/>
                    <a:lstStyle/>
                    <a:p>
                      <a:pPr marL="0" algn="l" defTabSz="725759" rtl="0" eaLnBrk="1" fontAlgn="ctr" latinLnBrk="0" hangingPunct="1"/>
                      <a:r>
                        <a:rPr lang="en-ZA" sz="2100" b="1" u="none" strike="noStrike" kern="1200" dirty="0">
                          <a:solidFill>
                            <a:schemeClr val="dk1"/>
                          </a:solidFill>
                          <a:effectLst/>
                          <a:latin typeface="+mn-lt"/>
                          <a:ea typeface="+mn-ea"/>
                          <a:cs typeface="+mn-cs"/>
                        </a:rPr>
                        <a:t>Total Expenditure at End of Contract</a:t>
                      </a:r>
                    </a:p>
                  </a:txBody>
                  <a:tcPr marL="7997" marR="7997" marT="7997" marB="0" anchor="ctr"/>
                </a:tc>
                <a:tc>
                  <a:txBody>
                    <a:bodyPr/>
                    <a:lstStyle/>
                    <a:p>
                      <a:pPr algn="l" fontAlgn="ctr"/>
                      <a:r>
                        <a:rPr lang="en-ZA" sz="2100" b="1" u="none" strike="noStrike" kern="1200" dirty="0">
                          <a:solidFill>
                            <a:schemeClr val="dk1"/>
                          </a:solidFill>
                          <a:effectLst/>
                          <a:latin typeface="+mn-lt"/>
                          <a:ea typeface="+mn-ea"/>
                          <a:cs typeface="+mn-cs"/>
                        </a:rPr>
                        <a:t>R15 423 883,08</a:t>
                      </a:r>
                    </a:p>
                  </a:txBody>
                  <a:tcPr marL="7997" marR="7997" marT="7997" marB="0" anchor="ctr"/>
                </a:tc>
                <a:extLst>
                  <a:ext uri="{0D108BD9-81ED-4DB2-BD59-A6C34878D82A}">
                    <a16:rowId xmlns:a16="http://schemas.microsoft.com/office/drawing/2014/main" val="10001"/>
                  </a:ext>
                </a:extLst>
              </a:tr>
            </a:tbl>
          </a:graphicData>
        </a:graphic>
      </p:graphicFrame>
      <p:graphicFrame>
        <p:nvGraphicFramePr>
          <p:cNvPr id="6" name="Content Placeholder 2"/>
          <p:cNvGraphicFramePr>
            <a:graphicFrameLocks/>
          </p:cNvGraphicFramePr>
          <p:nvPr>
            <p:extLst>
              <p:ext uri="{D42A27DB-BD31-4B8C-83A1-F6EECF244321}">
                <p14:modId xmlns:p14="http://schemas.microsoft.com/office/powerpoint/2010/main" val="2070225006"/>
              </p:ext>
            </p:extLst>
          </p:nvPr>
        </p:nvGraphicFramePr>
        <p:xfrm>
          <a:off x="6182617" y="2794522"/>
          <a:ext cx="5748126" cy="1913758"/>
        </p:xfrm>
        <a:graphic>
          <a:graphicData uri="http://schemas.openxmlformats.org/drawingml/2006/table">
            <a:tbl>
              <a:tblPr>
                <a:tableStyleId>{5C22544A-7EE6-4342-B048-85BDC9FD1C3A}</a:tableStyleId>
              </a:tblPr>
              <a:tblGrid>
                <a:gridCol w="2406212">
                  <a:extLst>
                    <a:ext uri="{9D8B030D-6E8A-4147-A177-3AD203B41FA5}">
                      <a16:colId xmlns:a16="http://schemas.microsoft.com/office/drawing/2014/main" val="20000"/>
                    </a:ext>
                  </a:extLst>
                </a:gridCol>
                <a:gridCol w="3341914">
                  <a:extLst>
                    <a:ext uri="{9D8B030D-6E8A-4147-A177-3AD203B41FA5}">
                      <a16:colId xmlns:a16="http://schemas.microsoft.com/office/drawing/2014/main" val="20001"/>
                    </a:ext>
                  </a:extLst>
                </a:gridCol>
              </a:tblGrid>
              <a:tr h="640585">
                <a:tc>
                  <a:txBody>
                    <a:bodyPr/>
                    <a:lstStyle/>
                    <a:p>
                      <a:pPr algn="l" fontAlgn="ctr"/>
                      <a:r>
                        <a:rPr lang="en-ZA" sz="2100" b="1" u="none" strike="noStrike" dirty="0">
                          <a:effectLst/>
                        </a:rPr>
                        <a:t>Award Amount </a:t>
                      </a:r>
                    </a:p>
                  </a:txBody>
                  <a:tcPr marL="7997" marR="7997" marT="7997" marB="0" anchor="ctr"/>
                </a:tc>
                <a:tc>
                  <a:txBody>
                    <a:bodyPr/>
                    <a:lstStyle/>
                    <a:p>
                      <a:pPr marL="0" marR="0" lvl="0" indent="0" algn="l" defTabSz="725759" rtl="0" eaLnBrk="1" fontAlgn="ctr" latinLnBrk="0" hangingPunct="1">
                        <a:lnSpc>
                          <a:spcPct val="100000"/>
                        </a:lnSpc>
                        <a:spcBef>
                          <a:spcPts val="0"/>
                        </a:spcBef>
                        <a:spcAft>
                          <a:spcPts val="0"/>
                        </a:spcAft>
                        <a:buClrTx/>
                        <a:buSzTx/>
                        <a:buFontTx/>
                        <a:buNone/>
                        <a:tabLst/>
                        <a:defRPr/>
                      </a:pPr>
                      <a:r>
                        <a:rPr lang="en-ZA" sz="2100" b="1" u="none" strike="noStrike" kern="1200" dirty="0">
                          <a:solidFill>
                            <a:schemeClr val="dk1"/>
                          </a:solidFill>
                          <a:effectLst/>
                          <a:latin typeface="+mn-lt"/>
                          <a:ea typeface="+mn-ea"/>
                          <a:cs typeface="+mn-cs"/>
                        </a:rPr>
                        <a:t>R 49 803 170,00</a:t>
                      </a:r>
                    </a:p>
                  </a:txBody>
                  <a:tcPr marL="7997" marR="7997" marT="7997" marB="0" anchor="ctr"/>
                </a:tc>
                <a:extLst>
                  <a:ext uri="{0D108BD9-81ED-4DB2-BD59-A6C34878D82A}">
                    <a16:rowId xmlns:a16="http://schemas.microsoft.com/office/drawing/2014/main" val="10000"/>
                  </a:ext>
                </a:extLst>
              </a:tr>
              <a:tr h="1273173">
                <a:tc>
                  <a:txBody>
                    <a:bodyPr/>
                    <a:lstStyle/>
                    <a:p>
                      <a:pPr marL="0" algn="l" defTabSz="725759" rtl="0" eaLnBrk="1" fontAlgn="ctr" latinLnBrk="0" hangingPunct="1"/>
                      <a:r>
                        <a:rPr lang="en-ZA" sz="2100" b="1" u="none" strike="noStrike" kern="1200" dirty="0">
                          <a:solidFill>
                            <a:schemeClr val="dk1"/>
                          </a:solidFill>
                          <a:effectLst/>
                          <a:latin typeface="+mn-lt"/>
                          <a:ea typeface="+mn-ea"/>
                          <a:cs typeface="+mn-cs"/>
                        </a:rPr>
                        <a:t>Total Expenditure at End of Contract</a:t>
                      </a:r>
                    </a:p>
                  </a:txBody>
                  <a:tcPr marL="7997" marR="7997" marT="7997" marB="0" anchor="ctr"/>
                </a:tc>
                <a:tc>
                  <a:txBody>
                    <a:bodyPr/>
                    <a:lstStyle/>
                    <a:p>
                      <a:pPr algn="l" fontAlgn="ctr"/>
                      <a:r>
                        <a:rPr lang="en-ZA" sz="2100" b="1" u="none" strike="noStrike" kern="1200" dirty="0">
                          <a:solidFill>
                            <a:schemeClr val="dk1"/>
                          </a:solidFill>
                          <a:effectLst/>
                          <a:latin typeface="+mn-lt"/>
                          <a:ea typeface="+mn-ea"/>
                          <a:cs typeface="+mn-cs"/>
                        </a:rPr>
                        <a:t>R 49 335 201,76</a:t>
                      </a:r>
                    </a:p>
                  </a:txBody>
                  <a:tcPr marL="7997" marR="7997" marT="7997" marB="0" anchor="ctr"/>
                </a:tc>
                <a:extLst>
                  <a:ext uri="{0D108BD9-81ED-4DB2-BD59-A6C34878D82A}">
                    <a16:rowId xmlns:a16="http://schemas.microsoft.com/office/drawing/2014/main" val="10001"/>
                  </a:ext>
                </a:extLst>
              </a:tr>
            </a:tbl>
          </a:graphicData>
        </a:graphic>
      </p:graphicFrame>
      <p:sp>
        <p:nvSpPr>
          <p:cNvPr id="8" name="Rectangle 7"/>
          <p:cNvSpPr/>
          <p:nvPr/>
        </p:nvSpPr>
        <p:spPr>
          <a:xfrm>
            <a:off x="778115" y="2242304"/>
            <a:ext cx="5247379" cy="5038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98" dirty="0"/>
              <a:t>DELOITTE</a:t>
            </a:r>
          </a:p>
        </p:txBody>
      </p:sp>
      <p:sp>
        <p:nvSpPr>
          <p:cNvPr id="9" name="Rectangle 8"/>
          <p:cNvSpPr/>
          <p:nvPr/>
        </p:nvSpPr>
        <p:spPr>
          <a:xfrm>
            <a:off x="6141073" y="2242304"/>
            <a:ext cx="5789670" cy="5038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98" dirty="0"/>
              <a:t>ACCTECH</a:t>
            </a:r>
          </a:p>
        </p:txBody>
      </p:sp>
    </p:spTree>
    <p:extLst>
      <p:ext uri="{BB962C8B-B14F-4D97-AF65-F5344CB8AC3E}">
        <p14:creationId xmlns:p14="http://schemas.microsoft.com/office/powerpoint/2010/main" val="222663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a:extLst>
              <a:ext uri="{FF2B5EF4-FFF2-40B4-BE49-F238E27FC236}">
                <a16:creationId xmlns:a16="http://schemas.microsoft.com/office/drawing/2014/main" id="{08A75797-F440-5CC2-9C82-1C392F070AA3}"/>
              </a:ext>
            </a:extLst>
          </p:cNvPr>
          <p:cNvSpPr>
            <a:spLocks noGrp="1"/>
          </p:cNvSpPr>
          <p:nvPr>
            <p:ph type="title"/>
          </p:nvPr>
        </p:nvSpPr>
        <p:spPr bwMode="auto">
          <a:xfrm>
            <a:off x="1028105" y="659929"/>
            <a:ext cx="9920134" cy="68141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r>
              <a:rPr lang="en-US" altLang="en-US" sz="3396" dirty="0"/>
              <a:t>Risk and Mitigation</a:t>
            </a:r>
          </a:p>
        </p:txBody>
      </p:sp>
      <p:graphicFrame>
        <p:nvGraphicFramePr>
          <p:cNvPr id="2" name="Table 2">
            <a:extLst>
              <a:ext uri="{FF2B5EF4-FFF2-40B4-BE49-F238E27FC236}">
                <a16:creationId xmlns:a16="http://schemas.microsoft.com/office/drawing/2014/main" id="{EE89784B-B73E-01BB-FD59-EEE4099FA2BA}"/>
              </a:ext>
            </a:extLst>
          </p:cNvPr>
          <p:cNvGraphicFramePr>
            <a:graphicFrameLocks noGrp="1"/>
          </p:cNvGraphicFramePr>
          <p:nvPr>
            <p:extLst>
              <p:ext uri="{D42A27DB-BD31-4B8C-83A1-F6EECF244321}">
                <p14:modId xmlns:p14="http://schemas.microsoft.com/office/powerpoint/2010/main" val="4124615814"/>
              </p:ext>
            </p:extLst>
          </p:nvPr>
        </p:nvGraphicFramePr>
        <p:xfrm>
          <a:off x="555170" y="1524001"/>
          <a:ext cx="11511643" cy="5148419"/>
        </p:xfrm>
        <a:graphic>
          <a:graphicData uri="http://schemas.openxmlformats.org/drawingml/2006/table">
            <a:tbl>
              <a:tblPr firstRow="1" bandRow="1">
                <a:tableStyleId>{5C22544A-7EE6-4342-B048-85BDC9FD1C3A}</a:tableStyleId>
              </a:tblPr>
              <a:tblGrid>
                <a:gridCol w="4284710">
                  <a:extLst>
                    <a:ext uri="{9D8B030D-6E8A-4147-A177-3AD203B41FA5}">
                      <a16:colId xmlns:a16="http://schemas.microsoft.com/office/drawing/2014/main" val="1093516130"/>
                    </a:ext>
                  </a:extLst>
                </a:gridCol>
                <a:gridCol w="7226933">
                  <a:extLst>
                    <a:ext uri="{9D8B030D-6E8A-4147-A177-3AD203B41FA5}">
                      <a16:colId xmlns:a16="http://schemas.microsoft.com/office/drawing/2014/main" val="1860302108"/>
                    </a:ext>
                  </a:extLst>
                </a:gridCol>
              </a:tblGrid>
              <a:tr h="493678">
                <a:tc>
                  <a:txBody>
                    <a:bodyPr/>
                    <a:lstStyle/>
                    <a:p>
                      <a:r>
                        <a:rPr lang="en-US" sz="1300" dirty="0"/>
                        <a:t>Risk</a:t>
                      </a:r>
                    </a:p>
                  </a:txBody>
                  <a:tcPr marL="86262" marR="86262" marT="43131" marB="43131"/>
                </a:tc>
                <a:tc>
                  <a:txBody>
                    <a:bodyPr/>
                    <a:lstStyle/>
                    <a:p>
                      <a:r>
                        <a:rPr lang="en-US" sz="1300" dirty="0"/>
                        <a:t>Mitigation</a:t>
                      </a:r>
                    </a:p>
                  </a:txBody>
                  <a:tcPr marL="86262" marR="86262" marT="43131" marB="43131"/>
                </a:tc>
                <a:extLst>
                  <a:ext uri="{0D108BD9-81ED-4DB2-BD59-A6C34878D82A}">
                    <a16:rowId xmlns:a16="http://schemas.microsoft.com/office/drawing/2014/main" val="4091580817"/>
                  </a:ext>
                </a:extLst>
              </a:tr>
              <a:tr h="1346007">
                <a:tc>
                  <a:txBody>
                    <a:bodyPr/>
                    <a:lstStyle/>
                    <a:p>
                      <a:r>
                        <a:rPr lang="en-ZA" sz="1300" dirty="0">
                          <a:effectLst/>
                        </a:rPr>
                        <a:t>Lack of Executive buy in </a:t>
                      </a:r>
                      <a:endParaRPr lang="en-ZA" sz="1300" dirty="0">
                        <a:effectLst/>
                        <a:latin typeface="Arial" panose="020B0604020202020204" pitchFamily="34" charset="0"/>
                      </a:endParaRPr>
                    </a:p>
                  </a:txBody>
                  <a:tcPr marL="44928" marR="44928" marT="0" marB="0"/>
                </a:tc>
                <a:tc>
                  <a:txBody>
                    <a:bodyPr/>
                    <a:lstStyle/>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sz="1300" dirty="0"/>
                        <a:t>EXCO signed MEMO supporting the ERP rollout.</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sz="1300" dirty="0"/>
                        <a:t> Signed Business Case.</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en-US" sz="1300" dirty="0"/>
                        <a:t>Appoint Programme Sponsor </a:t>
                      </a:r>
                    </a:p>
                    <a:p>
                      <a:pPr marL="285750" indent="-285750">
                        <a:buFontTx/>
                        <a:buChar char="-"/>
                      </a:pPr>
                      <a:r>
                        <a:rPr lang="en-US" sz="1300" dirty="0"/>
                        <a:t>Devolving accountability of implementing modules to branch heads.</a:t>
                      </a:r>
                    </a:p>
                    <a:p>
                      <a:pPr marL="285750" indent="-285750">
                        <a:buFontTx/>
                        <a:buChar char="-"/>
                      </a:pPr>
                      <a:r>
                        <a:rPr lang="en-US" sz="1300" dirty="0"/>
                        <a:t>Made ERP a standing item at EXCO, Audit Committee, MANCO and Portfolio Committee.</a:t>
                      </a:r>
                    </a:p>
                  </a:txBody>
                  <a:tcPr marL="86262" marR="86262" marT="43131" marB="43131"/>
                </a:tc>
                <a:extLst>
                  <a:ext uri="{0D108BD9-81ED-4DB2-BD59-A6C34878D82A}">
                    <a16:rowId xmlns:a16="http://schemas.microsoft.com/office/drawing/2014/main" val="1129779536"/>
                  </a:ext>
                </a:extLst>
              </a:tr>
              <a:tr h="530669">
                <a:tc>
                  <a:txBody>
                    <a:bodyPr/>
                    <a:lstStyle/>
                    <a:p>
                      <a:r>
                        <a:rPr lang="en-US" sz="1300" dirty="0"/>
                        <a:t>Poor project governance </a:t>
                      </a:r>
                    </a:p>
                  </a:txBody>
                  <a:tcPr marL="86262" marR="86262" marT="43131" marB="43131"/>
                </a:tc>
                <a:tc>
                  <a:txBody>
                    <a:bodyPr/>
                    <a:lstStyle/>
                    <a:p>
                      <a:pPr marL="285750" indent="-285750">
                        <a:buFontTx/>
                        <a:buChar char="-"/>
                      </a:pPr>
                      <a:r>
                        <a:rPr lang="en-US" sz="1300" dirty="0"/>
                        <a:t>Established the ICT EXCO and ICT Ops to facilitate oversight , ownership and decision making by the Stakeholders</a:t>
                      </a:r>
                    </a:p>
                  </a:txBody>
                  <a:tcPr marL="86262" marR="86262" marT="43131" marB="43131"/>
                </a:tc>
                <a:extLst>
                  <a:ext uri="{0D108BD9-81ED-4DB2-BD59-A6C34878D82A}">
                    <a16:rowId xmlns:a16="http://schemas.microsoft.com/office/drawing/2014/main" val="2247966843"/>
                  </a:ext>
                </a:extLst>
              </a:tr>
              <a:tr h="493678">
                <a:tc>
                  <a:txBody>
                    <a:bodyPr/>
                    <a:lstStyle/>
                    <a:p>
                      <a:r>
                        <a:rPr lang="en-ZA" sz="1300" dirty="0">
                          <a:effectLst/>
                        </a:rPr>
                        <a:t>Unavailability of approved business cases</a:t>
                      </a:r>
                      <a:endParaRPr lang="en-ZA" sz="1300" dirty="0">
                        <a:effectLst/>
                        <a:latin typeface="Arial" panose="020B0604020202020204" pitchFamily="34" charset="0"/>
                      </a:endParaRPr>
                    </a:p>
                  </a:txBody>
                  <a:tcPr marL="44928" marR="44928" marT="0" marB="0"/>
                </a:tc>
                <a:tc>
                  <a:txBody>
                    <a:bodyPr/>
                    <a:lstStyle/>
                    <a:p>
                      <a:r>
                        <a:rPr lang="en-US" sz="1300" dirty="0"/>
                        <a:t>- As-is and to-be business cases available. </a:t>
                      </a:r>
                    </a:p>
                  </a:txBody>
                  <a:tcPr marL="86262" marR="86262" marT="43131" marB="43131"/>
                </a:tc>
                <a:extLst>
                  <a:ext uri="{0D108BD9-81ED-4DB2-BD59-A6C34878D82A}">
                    <a16:rowId xmlns:a16="http://schemas.microsoft.com/office/drawing/2014/main" val="2040903018"/>
                  </a:ext>
                </a:extLst>
              </a:tr>
              <a:tr h="493678">
                <a:tc>
                  <a:txBody>
                    <a:bodyPr/>
                    <a:lstStyle/>
                    <a:p>
                      <a:r>
                        <a:rPr lang="en-US" sz="1300" dirty="0"/>
                        <a:t>Poor data quality</a:t>
                      </a:r>
                    </a:p>
                  </a:txBody>
                  <a:tcPr marL="86262" marR="86262" marT="43131" marB="43131"/>
                </a:tc>
                <a:tc>
                  <a:txBody>
                    <a:bodyPr/>
                    <a:lstStyle/>
                    <a:p>
                      <a:r>
                        <a:rPr lang="en-US" sz="1300" dirty="0"/>
                        <a:t>- Established a data task team.</a:t>
                      </a:r>
                    </a:p>
                  </a:txBody>
                  <a:tcPr marL="86262" marR="86262" marT="43131" marB="43131"/>
                </a:tc>
                <a:extLst>
                  <a:ext uri="{0D108BD9-81ED-4DB2-BD59-A6C34878D82A}">
                    <a16:rowId xmlns:a16="http://schemas.microsoft.com/office/drawing/2014/main" val="1107304762"/>
                  </a:ext>
                </a:extLst>
              </a:tr>
              <a:tr h="677334">
                <a:tc>
                  <a:txBody>
                    <a:bodyPr/>
                    <a:lstStyle/>
                    <a:p>
                      <a:r>
                        <a:rPr lang="en-US" sz="1300" dirty="0"/>
                        <a:t>insufficient change management</a:t>
                      </a:r>
                    </a:p>
                  </a:txBody>
                  <a:tcPr marL="86262" marR="86262" marT="43131" marB="43131"/>
                </a:tc>
                <a:tc>
                  <a:txBody>
                    <a:bodyPr/>
                    <a:lstStyle/>
                    <a:p>
                      <a:r>
                        <a:rPr lang="en-US" sz="1300" dirty="0"/>
                        <a:t>- Established a change management committee with HR and RMs and Regional Office’s change agents</a:t>
                      </a:r>
                    </a:p>
                  </a:txBody>
                  <a:tcPr marL="86262" marR="86262" marT="43131" marB="43131"/>
                </a:tc>
                <a:extLst>
                  <a:ext uri="{0D108BD9-81ED-4DB2-BD59-A6C34878D82A}">
                    <a16:rowId xmlns:a16="http://schemas.microsoft.com/office/drawing/2014/main" val="3023923316"/>
                  </a:ext>
                </a:extLst>
              </a:tr>
              <a:tr h="677334">
                <a:tc>
                  <a:txBody>
                    <a:bodyPr/>
                    <a:lstStyle/>
                    <a:p>
                      <a:r>
                        <a:rPr lang="en-US" sz="1300" dirty="0"/>
                        <a:t>Cost overruns</a:t>
                      </a:r>
                    </a:p>
                  </a:txBody>
                  <a:tcPr marL="86262" marR="86262" marT="43131" marB="43131"/>
                </a:tc>
                <a:tc>
                  <a:txBody>
                    <a:bodyPr/>
                    <a:lstStyle/>
                    <a:p>
                      <a:r>
                        <a:rPr lang="en-ZA" sz="1348" b="0" i="0" kern="1200" dirty="0">
                          <a:solidFill>
                            <a:schemeClr val="dk1"/>
                          </a:solidFill>
                          <a:effectLst/>
                          <a:latin typeface="+mn-lt"/>
                          <a:ea typeface="+mn-ea"/>
                          <a:cs typeface="+mn-cs"/>
                        </a:rPr>
                        <a:t>identifying potential threats or uncertainties that may impact the financial aspects of a project and implementing strategies to minimize their negative effects. E.g. Thoroughly estimate and budget project costs, </a:t>
                      </a:r>
                      <a:r>
                        <a:rPr lang="en-ZA" sz="1348" b="0" i="0" kern="1200" dirty="0" err="1">
                          <a:solidFill>
                            <a:schemeClr val="dk1"/>
                          </a:solidFill>
                          <a:effectLst/>
                          <a:latin typeface="+mn-lt"/>
                          <a:ea typeface="+mn-ea"/>
                          <a:cs typeface="+mn-cs"/>
                        </a:rPr>
                        <a:t>egular</a:t>
                      </a:r>
                      <a:r>
                        <a:rPr lang="en-ZA" sz="1348" b="0" i="0" kern="1200" dirty="0">
                          <a:solidFill>
                            <a:schemeClr val="dk1"/>
                          </a:solidFill>
                          <a:effectLst/>
                          <a:latin typeface="+mn-lt"/>
                          <a:ea typeface="+mn-ea"/>
                          <a:cs typeface="+mn-cs"/>
                        </a:rPr>
                        <a:t> cost monitoring and control , Id deviations, and and take corrective actions, tracking expenses, managing scope changes, and conducting risk assessments.</a:t>
                      </a:r>
                      <a:endParaRPr lang="en-US" sz="1300" dirty="0"/>
                    </a:p>
                  </a:txBody>
                  <a:tcPr marL="86262" marR="86262" marT="43131" marB="43131"/>
                </a:tc>
                <a:extLst>
                  <a:ext uri="{0D108BD9-81ED-4DB2-BD59-A6C34878D82A}">
                    <a16:rowId xmlns:a16="http://schemas.microsoft.com/office/drawing/2014/main" val="2300829658"/>
                  </a:ext>
                </a:extLst>
              </a:tr>
            </a:tbl>
          </a:graphicData>
        </a:graphic>
      </p:graphicFrame>
    </p:spTree>
    <p:extLst>
      <p:ext uri="{BB962C8B-B14F-4D97-AF65-F5344CB8AC3E}">
        <p14:creationId xmlns:p14="http://schemas.microsoft.com/office/powerpoint/2010/main" val="292090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a:extLst>
              <a:ext uri="{FF2B5EF4-FFF2-40B4-BE49-F238E27FC236}">
                <a16:creationId xmlns:a16="http://schemas.microsoft.com/office/drawing/2014/main" id="{08A75797-F440-5CC2-9C82-1C392F070AA3}"/>
              </a:ext>
            </a:extLst>
          </p:cNvPr>
          <p:cNvSpPr>
            <a:spLocks noGrp="1"/>
          </p:cNvSpPr>
          <p:nvPr>
            <p:ph type="title"/>
          </p:nvPr>
        </p:nvSpPr>
        <p:spPr bwMode="auto">
          <a:xfrm>
            <a:off x="910118" y="319226"/>
            <a:ext cx="9920134" cy="68141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pPr marL="0" marR="0" lvl="0" indent="0" fontAlgn="auto">
              <a:spcAft>
                <a:spcPts val="0"/>
              </a:spcAft>
              <a:buClrTx/>
              <a:buSzTx/>
              <a:tabLst/>
              <a:defRPr/>
            </a:pPr>
            <a:r>
              <a:rPr lang="en-US" sz="3396" dirty="0"/>
              <a:t>SAGE-ARCHIBUS delivery plan: Next Steps </a:t>
            </a:r>
            <a:endParaRPr lang="en-ZA" sz="3396" dirty="0"/>
          </a:p>
        </p:txBody>
      </p:sp>
      <p:graphicFrame>
        <p:nvGraphicFramePr>
          <p:cNvPr id="2" name="Table 2">
            <a:extLst>
              <a:ext uri="{FF2B5EF4-FFF2-40B4-BE49-F238E27FC236}">
                <a16:creationId xmlns:a16="http://schemas.microsoft.com/office/drawing/2014/main" id="{EE89784B-B73E-01BB-FD59-EEE4099FA2BA}"/>
              </a:ext>
            </a:extLst>
          </p:cNvPr>
          <p:cNvGraphicFramePr>
            <a:graphicFrameLocks noGrp="1"/>
          </p:cNvGraphicFramePr>
          <p:nvPr>
            <p:extLst>
              <p:ext uri="{D42A27DB-BD31-4B8C-83A1-F6EECF244321}">
                <p14:modId xmlns:p14="http://schemas.microsoft.com/office/powerpoint/2010/main" val="1287598732"/>
              </p:ext>
            </p:extLst>
          </p:nvPr>
        </p:nvGraphicFramePr>
        <p:xfrm>
          <a:off x="674913" y="1473510"/>
          <a:ext cx="11255830" cy="4724559"/>
        </p:xfrm>
        <a:graphic>
          <a:graphicData uri="http://schemas.openxmlformats.org/drawingml/2006/table">
            <a:tbl>
              <a:tblPr firstRow="1" bandRow="1">
                <a:tableStyleId>{5C22544A-7EE6-4342-B048-85BDC9FD1C3A}</a:tableStyleId>
              </a:tblPr>
              <a:tblGrid>
                <a:gridCol w="5627915">
                  <a:extLst>
                    <a:ext uri="{9D8B030D-6E8A-4147-A177-3AD203B41FA5}">
                      <a16:colId xmlns:a16="http://schemas.microsoft.com/office/drawing/2014/main" val="1093516130"/>
                    </a:ext>
                  </a:extLst>
                </a:gridCol>
                <a:gridCol w="5627915">
                  <a:extLst>
                    <a:ext uri="{9D8B030D-6E8A-4147-A177-3AD203B41FA5}">
                      <a16:colId xmlns:a16="http://schemas.microsoft.com/office/drawing/2014/main" val="1860302108"/>
                    </a:ext>
                  </a:extLst>
                </a:gridCol>
              </a:tblGrid>
              <a:tr h="524951">
                <a:tc>
                  <a:txBody>
                    <a:bodyPr/>
                    <a:lstStyle/>
                    <a:p>
                      <a:r>
                        <a:rPr lang="en-US" sz="1300" dirty="0"/>
                        <a:t>Activity</a:t>
                      </a:r>
                    </a:p>
                  </a:txBody>
                  <a:tcPr marL="86262" marR="86262" marT="43131" marB="43131"/>
                </a:tc>
                <a:tc>
                  <a:txBody>
                    <a:bodyPr/>
                    <a:lstStyle/>
                    <a:p>
                      <a:r>
                        <a:rPr lang="en-US" sz="1300" dirty="0"/>
                        <a:t>Due date</a:t>
                      </a:r>
                    </a:p>
                  </a:txBody>
                  <a:tcPr marL="86262" marR="86262" marT="43131" marB="43131"/>
                </a:tc>
                <a:extLst>
                  <a:ext uri="{0D108BD9-81ED-4DB2-BD59-A6C34878D82A}">
                    <a16:rowId xmlns:a16="http://schemas.microsoft.com/office/drawing/2014/main" val="4091580817"/>
                  </a:ext>
                </a:extLst>
              </a:tr>
              <a:tr h="524951">
                <a:tc>
                  <a:txBody>
                    <a:bodyPr/>
                    <a:lstStyle/>
                    <a:p>
                      <a:r>
                        <a:rPr lang="en-US" sz="1300" dirty="0"/>
                        <a:t>Appointment of </a:t>
                      </a:r>
                      <a:r>
                        <a:rPr lang="en-US" sz="1300" dirty="0" err="1"/>
                        <a:t>Archibus</a:t>
                      </a:r>
                      <a:r>
                        <a:rPr lang="en-US" sz="1300" dirty="0"/>
                        <a:t> Service Provider</a:t>
                      </a:r>
                    </a:p>
                  </a:txBody>
                  <a:tcPr marL="86262" marR="86262" marT="43131" marB="43131"/>
                </a:tc>
                <a:tc>
                  <a:txBody>
                    <a:bodyPr/>
                    <a:lstStyle/>
                    <a:p>
                      <a:r>
                        <a:rPr lang="en-US" sz="1300" dirty="0"/>
                        <a:t>Done</a:t>
                      </a:r>
                    </a:p>
                  </a:txBody>
                  <a:tcPr marL="86262" marR="86262" marT="43131" marB="43131"/>
                </a:tc>
                <a:extLst>
                  <a:ext uri="{0D108BD9-81ED-4DB2-BD59-A6C34878D82A}">
                    <a16:rowId xmlns:a16="http://schemas.microsoft.com/office/drawing/2014/main" val="1129779536"/>
                  </a:ext>
                </a:extLst>
              </a:tr>
              <a:tr h="524951">
                <a:tc>
                  <a:txBody>
                    <a:bodyPr/>
                    <a:lstStyle/>
                    <a:p>
                      <a:r>
                        <a:rPr lang="en-US" sz="1300" dirty="0"/>
                        <a:t>Appointment of SAGE Service Provider</a:t>
                      </a:r>
                    </a:p>
                  </a:txBody>
                  <a:tcPr marL="86262" marR="86262" marT="43131" marB="43131"/>
                </a:tc>
                <a:tc>
                  <a:txBody>
                    <a:bodyPr/>
                    <a:lstStyle/>
                    <a:p>
                      <a:r>
                        <a:rPr lang="en-US" sz="1300" dirty="0"/>
                        <a:t>Q 3 2023/24</a:t>
                      </a:r>
                    </a:p>
                  </a:txBody>
                  <a:tcPr marL="86262" marR="86262" marT="43131" marB="43131"/>
                </a:tc>
                <a:extLst>
                  <a:ext uri="{0D108BD9-81ED-4DB2-BD59-A6C34878D82A}">
                    <a16:rowId xmlns:a16="http://schemas.microsoft.com/office/drawing/2014/main" val="2247966843"/>
                  </a:ext>
                </a:extLst>
              </a:tr>
              <a:tr h="524951">
                <a:tc>
                  <a:txBody>
                    <a:bodyPr/>
                    <a:lstStyle/>
                    <a:p>
                      <a:r>
                        <a:rPr lang="en-US" sz="1300" dirty="0"/>
                        <a:t>Finalize CPM &amp; </a:t>
                      </a:r>
                      <a:r>
                        <a:rPr lang="en-US" sz="1300" dirty="0" err="1"/>
                        <a:t>LeaseOut</a:t>
                      </a:r>
                      <a:r>
                        <a:rPr lang="en-US" sz="1300" dirty="0"/>
                        <a:t> modules</a:t>
                      </a:r>
                    </a:p>
                  </a:txBody>
                  <a:tcPr marL="86262" marR="86262" marT="43131" marB="43131"/>
                </a:tc>
                <a:tc>
                  <a:txBody>
                    <a:bodyPr/>
                    <a:lstStyle/>
                    <a:p>
                      <a:r>
                        <a:rPr lang="en-US" sz="1300" dirty="0"/>
                        <a:t>Q2 2023/24</a:t>
                      </a:r>
                    </a:p>
                  </a:txBody>
                  <a:tcPr marL="86262" marR="86262" marT="43131" marB="43131"/>
                </a:tc>
                <a:extLst>
                  <a:ext uri="{0D108BD9-81ED-4DB2-BD59-A6C34878D82A}">
                    <a16:rowId xmlns:a16="http://schemas.microsoft.com/office/drawing/2014/main" val="2040903018"/>
                  </a:ext>
                </a:extLst>
              </a:tr>
              <a:tr h="524951">
                <a:tc>
                  <a:txBody>
                    <a:bodyPr/>
                    <a:lstStyle/>
                    <a:p>
                      <a:r>
                        <a:rPr lang="en-US" sz="1300" dirty="0"/>
                        <a:t>Finalize MAM &amp; Payments Modules</a:t>
                      </a:r>
                    </a:p>
                  </a:txBody>
                  <a:tcPr marL="86262" marR="86262" marT="43131" marB="43131"/>
                </a:tc>
                <a:tc>
                  <a:txBody>
                    <a:bodyPr/>
                    <a:lstStyle/>
                    <a:p>
                      <a:r>
                        <a:rPr lang="en-US" sz="1300" dirty="0"/>
                        <a:t>Q3 2023/24</a:t>
                      </a:r>
                    </a:p>
                  </a:txBody>
                  <a:tcPr marL="86262" marR="86262" marT="43131" marB="43131"/>
                </a:tc>
                <a:extLst>
                  <a:ext uri="{0D108BD9-81ED-4DB2-BD59-A6C34878D82A}">
                    <a16:rowId xmlns:a16="http://schemas.microsoft.com/office/drawing/2014/main" val="1107304762"/>
                  </a:ext>
                </a:extLst>
              </a:tr>
              <a:tr h="524951">
                <a:tc>
                  <a:txBody>
                    <a:bodyPr/>
                    <a:lstStyle/>
                    <a:p>
                      <a:r>
                        <a:rPr lang="en-US" sz="1300" dirty="0"/>
                        <a:t>Finalize Preventative Maintenance</a:t>
                      </a:r>
                    </a:p>
                  </a:txBody>
                  <a:tcPr marL="86262" marR="86262" marT="43131" marB="43131"/>
                </a:tc>
                <a:tc>
                  <a:txBody>
                    <a:bodyPr/>
                    <a:lstStyle/>
                    <a:p>
                      <a:r>
                        <a:rPr lang="en-US" sz="1300" dirty="0"/>
                        <a:t>Q3 2023/24</a:t>
                      </a:r>
                    </a:p>
                  </a:txBody>
                  <a:tcPr marL="86262" marR="86262" marT="43131" marB="43131"/>
                </a:tc>
                <a:extLst>
                  <a:ext uri="{0D108BD9-81ED-4DB2-BD59-A6C34878D82A}">
                    <a16:rowId xmlns:a16="http://schemas.microsoft.com/office/drawing/2014/main" val="3023923316"/>
                  </a:ext>
                </a:extLst>
              </a:tr>
              <a:tr h="524951">
                <a:tc>
                  <a:txBody>
                    <a:bodyPr/>
                    <a:lstStyle/>
                    <a:p>
                      <a:r>
                        <a:rPr lang="en-US" sz="1300" dirty="0"/>
                        <a:t>Sage variable payments training</a:t>
                      </a:r>
                    </a:p>
                  </a:txBody>
                  <a:tcPr marL="86262" marR="86262" marT="43131" marB="43131"/>
                </a:tc>
                <a:tc>
                  <a:txBody>
                    <a:bodyPr/>
                    <a:lstStyle/>
                    <a:p>
                      <a:r>
                        <a:rPr lang="en-US" sz="1300" dirty="0"/>
                        <a:t>Q4 2023/24</a:t>
                      </a:r>
                    </a:p>
                  </a:txBody>
                  <a:tcPr marL="86262" marR="86262" marT="43131" marB="43131"/>
                </a:tc>
                <a:extLst>
                  <a:ext uri="{0D108BD9-81ED-4DB2-BD59-A6C34878D82A}">
                    <a16:rowId xmlns:a16="http://schemas.microsoft.com/office/drawing/2014/main" val="4044159376"/>
                  </a:ext>
                </a:extLst>
              </a:tr>
              <a:tr h="524951">
                <a:tc>
                  <a:txBody>
                    <a:bodyPr/>
                    <a:lstStyle/>
                    <a:p>
                      <a:r>
                        <a:rPr lang="en-US" sz="1300" dirty="0"/>
                        <a:t>Finalize Sage Procurement  Module </a:t>
                      </a:r>
                    </a:p>
                  </a:txBody>
                  <a:tcPr marL="86262" marR="86262" marT="43131" marB="43131"/>
                </a:tc>
                <a:tc>
                  <a:txBody>
                    <a:bodyPr/>
                    <a:lstStyle/>
                    <a:p>
                      <a:pPr marL="0" marR="0" lvl="0" indent="0" algn="l" defTabSz="684681" rtl="0" eaLnBrk="1" fontAlgn="auto" latinLnBrk="0" hangingPunct="1">
                        <a:lnSpc>
                          <a:spcPct val="100000"/>
                        </a:lnSpc>
                        <a:spcBef>
                          <a:spcPts val="0"/>
                        </a:spcBef>
                        <a:spcAft>
                          <a:spcPts val="0"/>
                        </a:spcAft>
                        <a:buClrTx/>
                        <a:buSzTx/>
                        <a:buFontTx/>
                        <a:buNone/>
                        <a:tabLst/>
                        <a:defRPr/>
                      </a:pPr>
                      <a:r>
                        <a:rPr lang="en-US" sz="1300" dirty="0"/>
                        <a:t>Q4 2023/24</a:t>
                      </a:r>
                    </a:p>
                    <a:p>
                      <a:endParaRPr lang="en-US" sz="1300" dirty="0"/>
                    </a:p>
                  </a:txBody>
                  <a:tcPr marL="86262" marR="86262" marT="43131" marB="43131"/>
                </a:tc>
                <a:extLst>
                  <a:ext uri="{0D108BD9-81ED-4DB2-BD59-A6C34878D82A}">
                    <a16:rowId xmlns:a16="http://schemas.microsoft.com/office/drawing/2014/main" val="652713710"/>
                  </a:ext>
                </a:extLst>
              </a:tr>
              <a:tr h="524951">
                <a:tc>
                  <a:txBody>
                    <a:bodyPr/>
                    <a:lstStyle/>
                    <a:p>
                      <a:r>
                        <a:rPr lang="en-US" sz="1300" dirty="0"/>
                        <a:t>Start enhancements </a:t>
                      </a:r>
                    </a:p>
                  </a:txBody>
                  <a:tcPr marL="86262" marR="86262" marT="43131" marB="43131"/>
                </a:tc>
                <a:tc>
                  <a:txBody>
                    <a:bodyPr/>
                    <a:lstStyle/>
                    <a:p>
                      <a:r>
                        <a:rPr lang="en-US" sz="1300" dirty="0"/>
                        <a:t>Q1 2024/23</a:t>
                      </a:r>
                    </a:p>
                  </a:txBody>
                  <a:tcPr marL="86262" marR="86262" marT="43131" marB="43131"/>
                </a:tc>
                <a:extLst>
                  <a:ext uri="{0D108BD9-81ED-4DB2-BD59-A6C34878D82A}">
                    <a16:rowId xmlns:a16="http://schemas.microsoft.com/office/drawing/2014/main" val="3748880209"/>
                  </a:ext>
                </a:extLst>
              </a:tr>
            </a:tbl>
          </a:graphicData>
        </a:graphic>
      </p:graphicFrame>
    </p:spTree>
    <p:extLst>
      <p:ext uri="{BB962C8B-B14F-4D97-AF65-F5344CB8AC3E}">
        <p14:creationId xmlns:p14="http://schemas.microsoft.com/office/powerpoint/2010/main" val="400008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3">
            <a:extLst>
              <a:ext uri="{FF2B5EF4-FFF2-40B4-BE49-F238E27FC236}">
                <a16:creationId xmlns:a16="http://schemas.microsoft.com/office/drawing/2014/main" id="{4667C3DA-60EF-9A74-9111-CECAEE908037}"/>
              </a:ext>
            </a:extLst>
          </p:cNvPr>
          <p:cNvSpPr>
            <a:spLocks noGrp="1"/>
          </p:cNvSpPr>
          <p:nvPr>
            <p:ph type="title"/>
          </p:nvPr>
        </p:nvSpPr>
        <p:spPr bwMode="auto">
          <a:xfrm>
            <a:off x="1495358" y="764763"/>
            <a:ext cx="10351444" cy="118161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pPr>
              <a:spcBef>
                <a:spcPct val="20000"/>
              </a:spcBef>
            </a:pPr>
            <a:r>
              <a:rPr lang="en-ZA" altLang="en-US" sz="3019" b="1"/>
              <a:t>HISTORICAL CONTEXT (CONTINUED)</a:t>
            </a:r>
          </a:p>
        </p:txBody>
      </p:sp>
      <p:graphicFrame>
        <p:nvGraphicFramePr>
          <p:cNvPr id="5" name="Diagram 4">
            <a:extLst>
              <a:ext uri="{FF2B5EF4-FFF2-40B4-BE49-F238E27FC236}">
                <a16:creationId xmlns:a16="http://schemas.microsoft.com/office/drawing/2014/main" id="{2762C005-3B46-BC6E-925C-6E7A1E40D0C9}"/>
              </a:ext>
            </a:extLst>
          </p:cNvPr>
          <p:cNvGraphicFramePr/>
          <p:nvPr>
            <p:extLst>
              <p:ext uri="{D42A27DB-BD31-4B8C-83A1-F6EECF244321}">
                <p14:modId xmlns:p14="http://schemas.microsoft.com/office/powerpoint/2010/main" val="3281351972"/>
              </p:ext>
            </p:extLst>
          </p:nvPr>
        </p:nvGraphicFramePr>
        <p:xfrm>
          <a:off x="1511557" y="1214740"/>
          <a:ext cx="10119589" cy="45317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Oval 6">
            <a:extLst>
              <a:ext uri="{FF2B5EF4-FFF2-40B4-BE49-F238E27FC236}">
                <a16:creationId xmlns:a16="http://schemas.microsoft.com/office/drawing/2014/main" id="{4D30AC38-439C-A50C-73A7-D9D5BC7B5E1C}"/>
              </a:ext>
            </a:extLst>
          </p:cNvPr>
          <p:cNvSpPr/>
          <p:nvPr/>
        </p:nvSpPr>
        <p:spPr>
          <a:xfrm>
            <a:off x="8689853" y="2027242"/>
            <a:ext cx="441794" cy="443291"/>
          </a:xfrm>
          <a:prstGeom prst="ellipse">
            <a:avLst/>
          </a:prstGeom>
          <a:solidFill>
            <a:srgbClr val="FFC000"/>
          </a:solidFill>
          <a:ln>
            <a:solidFill>
              <a:schemeClr val="bg1">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25605" name="Group 6">
            <a:extLst>
              <a:ext uri="{FF2B5EF4-FFF2-40B4-BE49-F238E27FC236}">
                <a16:creationId xmlns:a16="http://schemas.microsoft.com/office/drawing/2014/main" id="{72CF675A-B48B-B207-E924-2B55C6549864}"/>
              </a:ext>
            </a:extLst>
          </p:cNvPr>
          <p:cNvGrpSpPr>
            <a:grpSpLocks/>
          </p:cNvGrpSpPr>
          <p:nvPr/>
        </p:nvGrpSpPr>
        <p:grpSpPr bwMode="auto">
          <a:xfrm>
            <a:off x="4058510" y="3093538"/>
            <a:ext cx="6666587" cy="2092901"/>
            <a:chOff x="-2572692" y="1728176"/>
            <a:chExt cx="8679544" cy="2725486"/>
          </a:xfrm>
        </p:grpSpPr>
        <p:sp>
          <p:nvSpPr>
            <p:cNvPr id="9" name="Rectangle 8">
              <a:extLst>
                <a:ext uri="{FF2B5EF4-FFF2-40B4-BE49-F238E27FC236}">
                  <a16:creationId xmlns:a16="http://schemas.microsoft.com/office/drawing/2014/main" id="{B506A79E-608E-EE79-F9CF-2066ACC41C32}"/>
                </a:ext>
              </a:extLst>
            </p:cNvPr>
            <p:cNvSpPr/>
            <p:nvPr/>
          </p:nvSpPr>
          <p:spPr>
            <a:xfrm>
              <a:off x="4392975" y="1728176"/>
              <a:ext cx="1713877" cy="208092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0" name="Rectangle 9">
              <a:extLst>
                <a:ext uri="{FF2B5EF4-FFF2-40B4-BE49-F238E27FC236}">
                  <a16:creationId xmlns:a16="http://schemas.microsoft.com/office/drawing/2014/main" id="{23B0BFD3-DDB4-0221-E7FE-7EA6511B85D9}"/>
                </a:ext>
              </a:extLst>
            </p:cNvPr>
            <p:cNvSpPr/>
            <p:nvPr/>
          </p:nvSpPr>
          <p:spPr>
            <a:xfrm>
              <a:off x="-2572692" y="2372736"/>
              <a:ext cx="6356355" cy="208092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188968" tIns="0" rIns="0" bIns="0" spcCol="1270"/>
            <a:lstStyle/>
            <a:p>
              <a:pPr defTabSz="546257">
                <a:lnSpc>
                  <a:spcPct val="90000"/>
                </a:lnSpc>
                <a:spcAft>
                  <a:spcPct val="35000"/>
                </a:spcAft>
                <a:defRPr/>
              </a:pPr>
              <a:r>
                <a:rPr lang="en-ZA" sz="1415" b="1" dirty="0">
                  <a:solidFill>
                    <a:prstClr val="black"/>
                  </a:solidFill>
                  <a:latin typeface="Arial Narrow" panose="020B0606020202030204" pitchFamily="34" charset="0"/>
                </a:rPr>
                <a:t>2015</a:t>
              </a:r>
            </a:p>
            <a:p>
              <a:pPr marL="161746" indent="-161746">
                <a:buFont typeface="Arial" panose="020B0604020202020204" pitchFamily="34" charset="0"/>
                <a:buChar char="•"/>
                <a:defRPr/>
              </a:pPr>
              <a:r>
                <a:rPr lang="en-ZA" sz="1038" b="1" dirty="0">
                  <a:solidFill>
                    <a:schemeClr val="dk1"/>
                  </a:solidFill>
                </a:rPr>
                <a:t>A decision was taken as part of the turnaround programme to implement other “expanded "modules of ARCHIBUS. Services of LDM were sourced through the KZN contract. Services were acquired through the National Treasury. </a:t>
              </a:r>
              <a:r>
                <a:rPr lang="en-ZA" sz="1038" b="1" dirty="0">
                  <a:solidFill>
                    <a:schemeClr val="tx1"/>
                  </a:solidFill>
                </a:rPr>
                <a:t>LDM contract expired in March 2017.</a:t>
              </a:r>
            </a:p>
            <a:p>
              <a:pPr marL="161746" indent="-161746">
                <a:buFont typeface="Arial" panose="020B0604020202020204" pitchFamily="34" charset="0"/>
                <a:buChar char="•"/>
                <a:defRPr/>
              </a:pPr>
              <a:r>
                <a:rPr lang="en-ZA" sz="1038" b="1" dirty="0">
                  <a:solidFill>
                    <a:schemeClr val="dk1"/>
                  </a:solidFill>
                </a:rPr>
                <a:t>A feasibility study also confirmed ARCHIBUS as a match to PMTE requirements</a:t>
              </a:r>
            </a:p>
            <a:p>
              <a:pPr marL="161746" indent="-161746">
                <a:buFont typeface="Arial" panose="020B0604020202020204" pitchFamily="34" charset="0"/>
                <a:buChar char="•"/>
                <a:defRPr/>
              </a:pPr>
              <a:r>
                <a:rPr lang="en-ZA" sz="1038" b="1" dirty="0">
                  <a:solidFill>
                    <a:schemeClr val="dk1"/>
                  </a:solidFill>
                </a:rPr>
                <a:t>This decision was on the basis that ARCHIBUS was already bought though an open bid.</a:t>
              </a:r>
            </a:p>
            <a:p>
              <a:pPr defTabSz="546257">
                <a:lnSpc>
                  <a:spcPct val="90000"/>
                </a:lnSpc>
                <a:spcAft>
                  <a:spcPct val="35000"/>
                </a:spcAft>
                <a:defRPr/>
              </a:pPr>
              <a:endParaRPr lang="en-ZA" sz="1152" dirty="0">
                <a:solidFill>
                  <a:prstClr val="black"/>
                </a:solidFill>
                <a:latin typeface="Arial Narrow" panose="020B0606020202030204" pitchFamily="34" charset="0"/>
              </a:endParaRPr>
            </a:p>
          </p:txBody>
        </p:sp>
      </p:grpSp>
      <p:sp>
        <p:nvSpPr>
          <p:cNvPr id="11" name="Rectangle 10">
            <a:extLst>
              <a:ext uri="{FF2B5EF4-FFF2-40B4-BE49-F238E27FC236}">
                <a16:creationId xmlns:a16="http://schemas.microsoft.com/office/drawing/2014/main" id="{B7F81578-4C2A-F872-F282-537DD6C9AF36}"/>
              </a:ext>
            </a:extLst>
          </p:cNvPr>
          <p:cNvSpPr/>
          <p:nvPr/>
        </p:nvSpPr>
        <p:spPr>
          <a:xfrm>
            <a:off x="9005846" y="1953861"/>
            <a:ext cx="2840956" cy="79822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188968" tIns="0" rIns="0" bIns="0" spcCol="1270"/>
          <a:lstStyle/>
          <a:p>
            <a:pPr defTabSz="546257">
              <a:lnSpc>
                <a:spcPct val="90000"/>
              </a:lnSpc>
              <a:spcAft>
                <a:spcPct val="35000"/>
              </a:spcAft>
              <a:defRPr/>
            </a:pPr>
            <a:r>
              <a:rPr lang="en-ZA" sz="1415" b="1" dirty="0">
                <a:solidFill>
                  <a:prstClr val="black"/>
                </a:solidFill>
                <a:latin typeface="Arial Narrow" panose="020B0606020202030204" pitchFamily="34" charset="0"/>
              </a:rPr>
              <a:t>2018- 21</a:t>
            </a:r>
          </a:p>
          <a:p>
            <a:pPr marL="161746" indent="-161746">
              <a:buFont typeface="Arial" panose="020B0604020202020204" pitchFamily="34" charset="0"/>
              <a:buChar char="•"/>
              <a:defRPr/>
            </a:pPr>
            <a:r>
              <a:rPr lang="en-ZA" sz="1038" b="1" dirty="0">
                <a:solidFill>
                  <a:schemeClr val="dk1"/>
                </a:solidFill>
              </a:rPr>
              <a:t>Due to termination of </a:t>
            </a:r>
            <a:r>
              <a:rPr lang="en-ZA" sz="1038" b="1" dirty="0" err="1">
                <a:solidFill>
                  <a:schemeClr val="dk1"/>
                </a:solidFill>
              </a:rPr>
              <a:t>Deloite</a:t>
            </a:r>
            <a:r>
              <a:rPr lang="en-ZA" sz="1038" b="1" dirty="0">
                <a:solidFill>
                  <a:schemeClr val="dk1"/>
                </a:solidFill>
              </a:rPr>
              <a:t> </a:t>
            </a:r>
            <a:r>
              <a:rPr lang="en-ZA" sz="1038" b="1" dirty="0" err="1">
                <a:solidFill>
                  <a:schemeClr val="dk1"/>
                </a:solidFill>
              </a:rPr>
              <a:t>AccTech</a:t>
            </a:r>
            <a:r>
              <a:rPr lang="en-ZA" sz="1038" b="1" dirty="0">
                <a:solidFill>
                  <a:schemeClr val="dk1"/>
                </a:solidFill>
              </a:rPr>
              <a:t> appointed for SAGE support </a:t>
            </a:r>
          </a:p>
          <a:p>
            <a:pPr>
              <a:defRPr/>
            </a:pPr>
            <a:r>
              <a:rPr lang="en-ZA" sz="1038" b="1" dirty="0">
                <a:solidFill>
                  <a:schemeClr val="dk1"/>
                </a:solidFill>
              </a:rPr>
              <a:t>      &amp; implementation </a:t>
            </a:r>
          </a:p>
          <a:p>
            <a:pPr>
              <a:defRPr/>
            </a:pPr>
            <a:r>
              <a:rPr lang="en-ZA" sz="1038" b="1" dirty="0">
                <a:solidFill>
                  <a:schemeClr val="dk1"/>
                </a:solidFill>
              </a:rPr>
              <a:t>    </a:t>
            </a:r>
            <a:endParaRPr lang="en-ZA" sz="1038" dirty="0">
              <a:solidFill>
                <a:schemeClr val="dk1"/>
              </a:solidFill>
            </a:endParaRPr>
          </a:p>
          <a:p>
            <a:pPr defTabSz="546257">
              <a:lnSpc>
                <a:spcPct val="90000"/>
              </a:lnSpc>
              <a:spcAft>
                <a:spcPct val="35000"/>
              </a:spcAft>
              <a:defRPr/>
            </a:pPr>
            <a:endParaRPr lang="en-ZA" sz="1152" dirty="0">
              <a:solidFill>
                <a:prstClr val="black"/>
              </a:solidFill>
              <a:latin typeface="Arial Narrow" panose="020B0606020202030204" pitchFamily="34" charset="0"/>
            </a:endParaRPr>
          </a:p>
        </p:txBody>
      </p:sp>
      <p:sp>
        <p:nvSpPr>
          <p:cNvPr id="25608" name="TextBox 14">
            <a:extLst>
              <a:ext uri="{FF2B5EF4-FFF2-40B4-BE49-F238E27FC236}">
                <a16:creationId xmlns:a16="http://schemas.microsoft.com/office/drawing/2014/main" id="{94D0124A-7FBD-A065-3BA6-6213A58D260A}"/>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a:t>5</a:t>
            </a:r>
          </a:p>
        </p:txBody>
      </p:sp>
    </p:spTree>
    <p:extLst>
      <p:ext uri="{BB962C8B-B14F-4D97-AF65-F5344CB8AC3E}">
        <p14:creationId xmlns:p14="http://schemas.microsoft.com/office/powerpoint/2010/main" val="351374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a:extLst>
              <a:ext uri="{FF2B5EF4-FFF2-40B4-BE49-F238E27FC236}">
                <a16:creationId xmlns:a16="http://schemas.microsoft.com/office/drawing/2014/main" id="{08A75797-F440-5CC2-9C82-1C392F070AA3}"/>
              </a:ext>
            </a:extLst>
          </p:cNvPr>
          <p:cNvSpPr>
            <a:spLocks noGrp="1"/>
          </p:cNvSpPr>
          <p:nvPr>
            <p:ph type="title"/>
          </p:nvPr>
        </p:nvSpPr>
        <p:spPr bwMode="auto">
          <a:xfrm>
            <a:off x="910118" y="319226"/>
            <a:ext cx="9920134" cy="68141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6262" tIns="43131" rIns="86262" bIns="43131" numCol="1" rtlCol="0" anchor="t" anchorCtr="0" compatLnSpc="1">
            <a:prstTxWarp prst="textNoShape">
              <a:avLst/>
            </a:prstTxWarp>
            <a:normAutofit/>
          </a:bodyPr>
          <a:lstStyle/>
          <a:p>
            <a:pPr marL="0" marR="0" lvl="0" indent="0" fontAlgn="auto">
              <a:spcAft>
                <a:spcPts val="0"/>
              </a:spcAft>
              <a:buClrTx/>
              <a:buSzTx/>
              <a:tabLst/>
              <a:defRPr/>
            </a:pPr>
            <a:r>
              <a:rPr lang="en-US" sz="3396" dirty="0"/>
              <a:t>SAGE-ARCHIBUS delivery plan: Next Steps </a:t>
            </a:r>
            <a:endParaRPr lang="en-ZA" sz="3396" dirty="0"/>
          </a:p>
        </p:txBody>
      </p:sp>
      <p:pic>
        <p:nvPicPr>
          <p:cNvPr id="6" name="Picture 5">
            <a:extLst>
              <a:ext uri="{FF2B5EF4-FFF2-40B4-BE49-F238E27FC236}">
                <a16:creationId xmlns:a16="http://schemas.microsoft.com/office/drawing/2014/main" id="{7436A7A6-10A8-FAC0-A978-F1EFCDAFEC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58" y="1567543"/>
            <a:ext cx="11947499" cy="4310743"/>
          </a:xfrm>
          <a:prstGeom prst="rect">
            <a:avLst/>
          </a:prstGeom>
        </p:spPr>
      </p:pic>
    </p:spTree>
    <p:extLst>
      <p:ext uri="{BB962C8B-B14F-4D97-AF65-F5344CB8AC3E}">
        <p14:creationId xmlns:p14="http://schemas.microsoft.com/office/powerpoint/2010/main" val="83350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C95D2D4-8537-DAA8-C80D-79D6CAE15B3B}"/>
              </a:ext>
            </a:extLst>
          </p:cNvPr>
          <p:cNvSpPr txBox="1"/>
          <p:nvPr/>
        </p:nvSpPr>
        <p:spPr>
          <a:xfrm>
            <a:off x="3729785" y="680896"/>
            <a:ext cx="4295130" cy="731098"/>
          </a:xfrm>
          <a:prstGeom prst="rect">
            <a:avLst/>
          </a:prstGeom>
          <a:noFill/>
        </p:spPr>
        <p:txBody>
          <a:bodyPr>
            <a:spAutoFit/>
          </a:bodyPr>
          <a:lstStyle/>
          <a:p>
            <a:pPr algn="ctr" defTabSz="431322">
              <a:defRPr/>
            </a:pPr>
            <a:r>
              <a:rPr lang="en-US" sz="4151" dirty="0">
                <a:latin typeface="+mj-lt"/>
                <a:ea typeface="+mj-ea"/>
                <a:cs typeface="+mj-cs"/>
              </a:rPr>
              <a:t>THE END </a:t>
            </a:r>
            <a:endParaRPr lang="en-ZA" sz="4151" dirty="0">
              <a:latin typeface="+mj-lt"/>
              <a:ea typeface="+mj-ea"/>
              <a:cs typeface="+mj-cs"/>
            </a:endParaRPr>
          </a:p>
        </p:txBody>
      </p:sp>
      <p:sp>
        <p:nvSpPr>
          <p:cNvPr id="67587" name="TextBox 2">
            <a:extLst>
              <a:ext uri="{FF2B5EF4-FFF2-40B4-BE49-F238E27FC236}">
                <a16:creationId xmlns:a16="http://schemas.microsoft.com/office/drawing/2014/main" id="{A6B44755-CD54-3FC7-973A-62D812288BA5}"/>
              </a:ext>
            </a:extLst>
          </p:cNvPr>
          <p:cNvSpPr txBox="1">
            <a:spLocks noChangeArrowheads="1"/>
          </p:cNvSpPr>
          <p:nvPr/>
        </p:nvSpPr>
        <p:spPr bwMode="auto">
          <a:xfrm>
            <a:off x="3729785" y="3127983"/>
            <a:ext cx="4295130" cy="1137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a:r>
              <a:rPr lang="en-US" altLang="en-US" sz="6792" b="1">
                <a:solidFill>
                  <a:srgbClr val="000000"/>
                </a:solidFill>
              </a:rPr>
              <a:t>Thank you. </a:t>
            </a:r>
            <a:endParaRPr lang="en-ZA" altLang="en-US" sz="6792" b="1">
              <a:solidFill>
                <a:srgbClr val="000000"/>
              </a:solidFill>
            </a:endParaRPr>
          </a:p>
        </p:txBody>
      </p:sp>
      <p:sp>
        <p:nvSpPr>
          <p:cNvPr id="67589" name="TextBox 6">
            <a:extLst>
              <a:ext uri="{FF2B5EF4-FFF2-40B4-BE49-F238E27FC236}">
                <a16:creationId xmlns:a16="http://schemas.microsoft.com/office/drawing/2014/main" id="{76296F29-2DB1-95E8-B35F-B17BC4373229}"/>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smtClean="0"/>
              <a:t>51</a:t>
            </a:r>
            <a:endParaRPr lang="en-US" altLang="en-US" sz="1698" dirty="0"/>
          </a:p>
        </p:txBody>
      </p:sp>
    </p:spTree>
    <p:extLst>
      <p:ext uri="{BB962C8B-B14F-4D97-AF65-F5344CB8AC3E}">
        <p14:creationId xmlns:p14="http://schemas.microsoft.com/office/powerpoint/2010/main" val="31261652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D18F8-749C-520A-391F-5CC4AA7A762C}"/>
              </a:ext>
            </a:extLst>
          </p:cNvPr>
          <p:cNvSpPr>
            <a:spLocks noGrp="1"/>
          </p:cNvSpPr>
          <p:nvPr>
            <p:ph type="title"/>
          </p:nvPr>
        </p:nvSpPr>
        <p:spPr>
          <a:xfrm>
            <a:off x="805978" y="186594"/>
            <a:ext cx="10351444" cy="1181610"/>
          </a:xfrm>
        </p:spPr>
        <p:txBody>
          <a:bodyPr>
            <a:normAutofit/>
          </a:bodyPr>
          <a:lstStyle/>
          <a:p>
            <a:pPr>
              <a:defRPr/>
            </a:pPr>
            <a:r>
              <a:rPr lang="en-ZA" sz="2396" b="1" dirty="0"/>
              <a:t>PMTE STRATEGY</a:t>
            </a:r>
            <a:endParaRPr lang="en-US" sz="2396" dirty="0"/>
          </a:p>
        </p:txBody>
      </p:sp>
      <p:sp>
        <p:nvSpPr>
          <p:cNvPr id="3" name="TextBox 2">
            <a:extLst>
              <a:ext uri="{FF2B5EF4-FFF2-40B4-BE49-F238E27FC236}">
                <a16:creationId xmlns:a16="http://schemas.microsoft.com/office/drawing/2014/main" id="{F8CF7691-A3E3-A306-C2AA-581786C4D039}"/>
              </a:ext>
            </a:extLst>
          </p:cNvPr>
          <p:cNvSpPr txBox="1"/>
          <p:nvPr/>
        </p:nvSpPr>
        <p:spPr>
          <a:xfrm>
            <a:off x="805978" y="2808514"/>
            <a:ext cx="8664593" cy="2585323"/>
          </a:xfrm>
          <a:prstGeom prst="rect">
            <a:avLst/>
          </a:prstGeom>
          <a:noFill/>
        </p:spPr>
        <p:txBody>
          <a:bodyPr wrap="square" rtlCol="0">
            <a:spAutoFit/>
          </a:bodyPr>
          <a:lstStyle/>
          <a:p>
            <a:pPr marL="342900" indent="-342900">
              <a:buAutoNum type="arabicPeriod"/>
            </a:pPr>
            <a:r>
              <a:rPr lang="en-US" dirty="0"/>
              <a:t>In 2011 informed by the PMTE ERP strategy DPWI approach NT, for permission to implement ERP Strategy.</a:t>
            </a:r>
          </a:p>
          <a:p>
            <a:pPr marL="342900" indent="-342900">
              <a:buAutoNum type="arabicPeriod"/>
            </a:pPr>
            <a:r>
              <a:rPr lang="en-US" dirty="0"/>
              <a:t>The objective was to move from  Government Transversal systems to GRAP Compliant Systems. (Slide 7)</a:t>
            </a:r>
          </a:p>
          <a:p>
            <a:pPr marL="342900" indent="-342900">
              <a:buAutoNum type="arabicPeriod"/>
            </a:pPr>
            <a:r>
              <a:rPr lang="en-US" dirty="0"/>
              <a:t>The plan was to procure an off-the-shelf ERP solution (Slide 8) in order to digitize the PMTE core Business Functions – REIRS, REMS, FM, CPM, REIS &amp; Finance </a:t>
            </a:r>
          </a:p>
          <a:p>
            <a:pPr marL="342900" indent="-342900">
              <a:buAutoNum type="arabicPeriod"/>
            </a:pPr>
            <a:r>
              <a:rPr lang="en-US" dirty="0"/>
              <a:t>NT granted DPWI permission to procure a Billing and Accounting Solution</a:t>
            </a:r>
          </a:p>
          <a:p>
            <a:endParaRPr lang="en-US" dirty="0"/>
          </a:p>
        </p:txBody>
      </p:sp>
    </p:spTree>
    <p:extLst>
      <p:ext uri="{BB962C8B-B14F-4D97-AF65-F5344CB8AC3E}">
        <p14:creationId xmlns:p14="http://schemas.microsoft.com/office/powerpoint/2010/main" val="3199137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0036BFF-FB39-6E8D-3E87-831C461AA91A}"/>
              </a:ext>
            </a:extLst>
          </p:cNvPr>
          <p:cNvSpPr txBox="1"/>
          <p:nvPr/>
        </p:nvSpPr>
        <p:spPr>
          <a:xfrm>
            <a:off x="514072" y="826740"/>
            <a:ext cx="11103156" cy="1021562"/>
          </a:xfrm>
          <a:prstGeom prst="rect">
            <a:avLst/>
          </a:prstGeom>
          <a:solidFill>
            <a:srgbClr val="FFC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spAutoFit/>
          </a:bodyPr>
          <a:lstStyle/>
          <a:p>
            <a:pPr algn="ctr">
              <a:defRPr/>
            </a:pPr>
            <a:r>
              <a:rPr lang="en-ZA" sz="3019" dirty="0">
                <a:latin typeface="+mj-lt"/>
                <a:ea typeface="+mj-ea"/>
                <a:cs typeface="+mj-cs"/>
              </a:rPr>
              <a:t>FROM TRANSVERSAL SYSTEMS TO GRAP COMPLIANT SYSTEMS</a:t>
            </a:r>
            <a:endParaRPr lang="en-US" sz="3019" dirty="0">
              <a:latin typeface="+mj-lt"/>
              <a:ea typeface="+mj-ea"/>
              <a:cs typeface="+mj-cs"/>
            </a:endParaRPr>
          </a:p>
        </p:txBody>
      </p:sp>
      <p:graphicFrame>
        <p:nvGraphicFramePr>
          <p:cNvPr id="10" name="Table 9">
            <a:extLst>
              <a:ext uri="{FF2B5EF4-FFF2-40B4-BE49-F238E27FC236}">
                <a16:creationId xmlns:a16="http://schemas.microsoft.com/office/drawing/2014/main" id="{699677DA-341B-767A-2ACF-5E0227D540F9}"/>
              </a:ext>
            </a:extLst>
          </p:cNvPr>
          <p:cNvGraphicFramePr>
            <a:graphicFrameLocks noGrp="1"/>
          </p:cNvGraphicFramePr>
          <p:nvPr>
            <p:extLst>
              <p:ext uri="{D42A27DB-BD31-4B8C-83A1-F6EECF244321}">
                <p14:modId xmlns:p14="http://schemas.microsoft.com/office/powerpoint/2010/main" val="4218186357"/>
              </p:ext>
            </p:extLst>
          </p:nvPr>
        </p:nvGraphicFramePr>
        <p:xfrm>
          <a:off x="514071" y="1961535"/>
          <a:ext cx="11117076" cy="4600644"/>
        </p:xfrm>
        <a:graphic>
          <a:graphicData uri="http://schemas.openxmlformats.org/drawingml/2006/table">
            <a:tbl>
              <a:tblPr firstRow="1" bandRow="1">
                <a:tableStyleId>{5C22544A-7EE6-4342-B048-85BDC9FD1C3A}</a:tableStyleId>
              </a:tblPr>
              <a:tblGrid>
                <a:gridCol w="5558538">
                  <a:extLst>
                    <a:ext uri="{9D8B030D-6E8A-4147-A177-3AD203B41FA5}">
                      <a16:colId xmlns:a16="http://schemas.microsoft.com/office/drawing/2014/main" val="20000"/>
                    </a:ext>
                  </a:extLst>
                </a:gridCol>
                <a:gridCol w="5558538">
                  <a:extLst>
                    <a:ext uri="{9D8B030D-6E8A-4147-A177-3AD203B41FA5}">
                      <a16:colId xmlns:a16="http://schemas.microsoft.com/office/drawing/2014/main" val="20001"/>
                    </a:ext>
                  </a:extLst>
                </a:gridCol>
              </a:tblGrid>
              <a:tr h="460435">
                <a:tc>
                  <a:txBody>
                    <a:bodyPr/>
                    <a:lstStyle/>
                    <a:p>
                      <a:pPr algn="ctr"/>
                      <a:r>
                        <a:rPr lang="en-US" sz="1700" dirty="0"/>
                        <a:t>Department</a:t>
                      </a:r>
                      <a:r>
                        <a:rPr lang="en-US" sz="1700" baseline="0" dirty="0"/>
                        <a:t> of Public Works Systems</a:t>
                      </a:r>
                      <a:endParaRPr lang="en-US" sz="1700" dirty="0"/>
                    </a:p>
                  </a:txBody>
                  <a:tcPr marL="86264" marR="86264" marT="43139" marB="43139"/>
                </a:tc>
                <a:tc>
                  <a:txBody>
                    <a:bodyPr/>
                    <a:lstStyle/>
                    <a:p>
                      <a:pPr algn="ctr"/>
                      <a:r>
                        <a:rPr lang="en-US" sz="1700" dirty="0"/>
                        <a:t>PMTE Systems </a:t>
                      </a:r>
                    </a:p>
                  </a:txBody>
                  <a:tcPr marL="86264" marR="86264" marT="43139" marB="43139"/>
                </a:tc>
                <a:extLst>
                  <a:ext uri="{0D108BD9-81ED-4DB2-BD59-A6C34878D82A}">
                    <a16:rowId xmlns:a16="http://schemas.microsoft.com/office/drawing/2014/main" val="10000"/>
                  </a:ext>
                </a:extLst>
              </a:tr>
              <a:tr h="4140209">
                <a:tc>
                  <a:txBody>
                    <a:bodyPr/>
                    <a:lstStyle/>
                    <a:p>
                      <a:pPr marL="285750" indent="-285750">
                        <a:buFont typeface="Arial" panose="020B0604020202020204" pitchFamily="34" charset="0"/>
                        <a:buChar char="•"/>
                      </a:pPr>
                      <a:r>
                        <a:rPr lang="en-US" sz="1300" dirty="0"/>
                        <a:t>DPW is cash accounting based</a:t>
                      </a:r>
                      <a:r>
                        <a:rPr lang="en-US" sz="1300" baseline="0" dirty="0"/>
                        <a:t> and using transversal systems BAS, LOGIS and PERSAL. </a:t>
                      </a:r>
                    </a:p>
                    <a:p>
                      <a:pPr marL="285750" indent="-285750">
                        <a:buFont typeface="Arial" panose="020B0604020202020204" pitchFamily="34" charset="0"/>
                        <a:buChar char="•"/>
                      </a:pPr>
                      <a:endParaRPr lang="en-US" sz="1300" baseline="0" dirty="0"/>
                    </a:p>
                    <a:p>
                      <a:pPr marL="285750" indent="-285750">
                        <a:buFont typeface="Arial" panose="020B0604020202020204" pitchFamily="34" charset="0"/>
                        <a:buChar char="•"/>
                      </a:pPr>
                      <a:r>
                        <a:rPr lang="en-US" sz="1300" baseline="0" dirty="0"/>
                        <a:t>LOGIS – Produces Purchase Orders and limited in terms</a:t>
                      </a:r>
                      <a:r>
                        <a:rPr lang="en-US" sz="1300" dirty="0"/>
                        <a:t> of functionality to track invoices,</a:t>
                      </a:r>
                      <a:r>
                        <a:rPr lang="en-US" sz="1300" baseline="0" dirty="0"/>
                        <a:t> goods and orders.</a:t>
                      </a:r>
                    </a:p>
                    <a:p>
                      <a:pPr marL="285750" indent="-285750">
                        <a:buFont typeface="Arial" panose="020B0604020202020204" pitchFamily="34" charset="0"/>
                        <a:buChar char="•"/>
                      </a:pPr>
                      <a:endParaRPr lang="en-US" sz="1300" baseline="0" dirty="0"/>
                    </a:p>
                    <a:p>
                      <a:pPr marL="285750" indent="-285750">
                        <a:buFont typeface="Arial" panose="020B0604020202020204" pitchFamily="34" charset="0"/>
                        <a:buChar char="•"/>
                      </a:pPr>
                      <a:r>
                        <a:rPr lang="en-US" sz="1300" baseline="0" dirty="0"/>
                        <a:t>BAS – Basic Accounting System for payables/receivables. </a:t>
                      </a:r>
                    </a:p>
                    <a:p>
                      <a:pPr marL="285750" indent="-285750">
                        <a:buFont typeface="Arial" panose="020B0604020202020204" pitchFamily="34" charset="0"/>
                        <a:buChar char="•"/>
                      </a:pPr>
                      <a:endParaRPr lang="en-US" sz="1300" baseline="0" dirty="0"/>
                    </a:p>
                    <a:p>
                      <a:pPr marL="285750" indent="-285750">
                        <a:buFont typeface="Arial" panose="020B0604020202020204" pitchFamily="34" charset="0"/>
                        <a:buChar char="•"/>
                      </a:pPr>
                      <a:r>
                        <a:rPr lang="en-US" sz="1300" baseline="0" dirty="0"/>
                        <a:t>PERSAL – Personnel Administration Systems for payment of salaries and leave administration.</a:t>
                      </a:r>
                      <a:endParaRPr lang="en-US" sz="1300" dirty="0"/>
                    </a:p>
                  </a:txBody>
                  <a:tcPr marL="86264" marR="86264" marT="43139" marB="43139"/>
                </a:tc>
                <a:tc>
                  <a:txBody>
                    <a:bodyPr/>
                    <a:lstStyle/>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dk1"/>
                          </a:solidFill>
                          <a:latin typeface="+mn-lt"/>
                          <a:ea typeface="+mn-ea"/>
                          <a:cs typeface="+mn-cs"/>
                        </a:rPr>
                        <a:t>PMTE uses GRAP as a standard and systems used need to conform to these GRAP standard. </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kern="1200" baseline="0" dirty="0">
                        <a:solidFill>
                          <a:schemeClr val="dk1"/>
                        </a:solidFill>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kern="1200" baseline="0" dirty="0">
                          <a:solidFill>
                            <a:schemeClr val="dk1"/>
                          </a:solidFill>
                          <a:latin typeface="+mn-lt"/>
                          <a:ea typeface="+mn-ea"/>
                          <a:cs typeface="+mn-cs"/>
                        </a:rPr>
                        <a:t>Through authorization from National Treasury SAGE and ARCHIBUS were procured.</a:t>
                      </a:r>
                    </a:p>
                    <a:p>
                      <a:pPr marL="285750" indent="-285750">
                        <a:buFont typeface="Arial" panose="020B0604020202020204" pitchFamily="34" charset="0"/>
                        <a:buChar char="•"/>
                      </a:pPr>
                      <a:endParaRPr lang="en-US" sz="1300" kern="1200" baseline="0" dirty="0">
                        <a:solidFill>
                          <a:schemeClr val="dk1"/>
                        </a:solidFill>
                        <a:latin typeface="+mn-lt"/>
                        <a:ea typeface="+mn-ea"/>
                        <a:cs typeface="+mn-cs"/>
                      </a:endParaRPr>
                    </a:p>
                    <a:p>
                      <a:pPr marL="285750" indent="-285750">
                        <a:buFont typeface="Arial" panose="020B0604020202020204" pitchFamily="34" charset="0"/>
                        <a:buChar char="•"/>
                      </a:pPr>
                      <a:r>
                        <a:rPr lang="en-US" sz="1300" kern="1200" baseline="0" dirty="0">
                          <a:solidFill>
                            <a:schemeClr val="dk1"/>
                          </a:solidFill>
                          <a:latin typeface="+mn-lt"/>
                          <a:ea typeface="+mn-ea"/>
                          <a:cs typeface="+mn-cs"/>
                        </a:rPr>
                        <a:t>SAGE – Finance systems currently used for payment of suppliers and process interfaces from operational systems (WCS &amp; PMIS).</a:t>
                      </a:r>
                    </a:p>
                    <a:p>
                      <a:pPr marL="285750" indent="-285750">
                        <a:buFont typeface="Arial" panose="020B0604020202020204" pitchFamily="34" charset="0"/>
                        <a:buChar char="•"/>
                      </a:pPr>
                      <a:endParaRPr lang="en-US" sz="1300" kern="1200" baseline="0" dirty="0">
                        <a:solidFill>
                          <a:schemeClr val="dk1"/>
                        </a:solidFill>
                        <a:latin typeface="+mn-lt"/>
                        <a:ea typeface="+mn-ea"/>
                        <a:cs typeface="+mn-cs"/>
                      </a:endParaRPr>
                    </a:p>
                    <a:p>
                      <a:pPr marL="285750" indent="-285750">
                        <a:buFont typeface="Arial" panose="020B0604020202020204" pitchFamily="34" charset="0"/>
                        <a:buChar char="•"/>
                      </a:pPr>
                      <a:r>
                        <a:rPr lang="en-US" sz="1300" kern="1200" baseline="0" dirty="0">
                          <a:solidFill>
                            <a:schemeClr val="dk1"/>
                          </a:solidFill>
                          <a:latin typeface="+mn-lt"/>
                          <a:ea typeface="+mn-ea"/>
                          <a:cs typeface="+mn-cs"/>
                        </a:rPr>
                        <a:t>ARCHIBUS – Property management system for the Asset lifecycle management.</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kern="1200" baseline="0" dirty="0">
                        <a:solidFill>
                          <a:schemeClr val="dk1"/>
                        </a:solidFill>
                        <a:latin typeface="+mn-lt"/>
                        <a:ea typeface="+mn-ea"/>
                        <a:cs typeface="+mn-cs"/>
                      </a:endParaRP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kern="1200" baseline="0" dirty="0">
                          <a:solidFill>
                            <a:schemeClr val="dk1"/>
                          </a:solidFill>
                          <a:latin typeface="+mn-lt"/>
                          <a:ea typeface="+mn-ea"/>
                          <a:cs typeface="+mn-cs"/>
                        </a:rPr>
                        <a:t>PERSAL – Personnel Administration Systems for payment of salaries and leave administration.</a:t>
                      </a:r>
                    </a:p>
                  </a:txBody>
                  <a:tcPr marL="86264" marR="86264" marT="43139" marB="43139"/>
                </a:tc>
                <a:extLst>
                  <a:ext uri="{0D108BD9-81ED-4DB2-BD59-A6C34878D82A}">
                    <a16:rowId xmlns:a16="http://schemas.microsoft.com/office/drawing/2014/main" val="10001"/>
                  </a:ext>
                </a:extLst>
              </a:tr>
            </a:tbl>
          </a:graphicData>
        </a:graphic>
      </p:graphicFrame>
      <p:sp>
        <p:nvSpPr>
          <p:cNvPr id="31761" name="TextBox 6">
            <a:extLst>
              <a:ext uri="{FF2B5EF4-FFF2-40B4-BE49-F238E27FC236}">
                <a16:creationId xmlns:a16="http://schemas.microsoft.com/office/drawing/2014/main" id="{35595740-FD59-28C8-0C3A-5A96308CA78A}"/>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a:t>7</a:t>
            </a:r>
          </a:p>
        </p:txBody>
      </p:sp>
    </p:spTree>
    <p:extLst>
      <p:ext uri="{BB962C8B-B14F-4D97-AF65-F5344CB8AC3E}">
        <p14:creationId xmlns:p14="http://schemas.microsoft.com/office/powerpoint/2010/main" val="21581061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1" name="Picture 6">
            <a:extLst>
              <a:ext uri="{FF2B5EF4-FFF2-40B4-BE49-F238E27FC236}">
                <a16:creationId xmlns:a16="http://schemas.microsoft.com/office/drawing/2014/main" id="{87FC28CB-829E-5773-3766-9C1EE624460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 y="-191729"/>
            <a:ext cx="9470570" cy="508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TextBox 7">
            <a:extLst>
              <a:ext uri="{FF2B5EF4-FFF2-40B4-BE49-F238E27FC236}">
                <a16:creationId xmlns:a16="http://schemas.microsoft.com/office/drawing/2014/main" id="{B9230EDA-B03A-709D-954D-58E914868876}"/>
              </a:ext>
            </a:extLst>
          </p:cNvPr>
          <p:cNvSpPr txBox="1">
            <a:spLocks noChangeArrowheads="1"/>
          </p:cNvSpPr>
          <p:nvPr/>
        </p:nvSpPr>
        <p:spPr bwMode="auto">
          <a:xfrm>
            <a:off x="10985680" y="6208556"/>
            <a:ext cx="645467" cy="353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698" dirty="0"/>
              <a:t>8</a:t>
            </a:r>
          </a:p>
        </p:txBody>
      </p:sp>
      <p:sp>
        <p:nvSpPr>
          <p:cNvPr id="2" name="TextBox 1">
            <a:extLst>
              <a:ext uri="{FF2B5EF4-FFF2-40B4-BE49-F238E27FC236}">
                <a16:creationId xmlns:a16="http://schemas.microsoft.com/office/drawing/2014/main" id="{59267F14-763E-EF1B-AEE9-8CE6D4ABB5AB}"/>
              </a:ext>
            </a:extLst>
          </p:cNvPr>
          <p:cNvSpPr txBox="1"/>
          <p:nvPr/>
        </p:nvSpPr>
        <p:spPr>
          <a:xfrm>
            <a:off x="1943100" y="5649686"/>
            <a:ext cx="6609502" cy="646331"/>
          </a:xfrm>
          <a:prstGeom prst="rect">
            <a:avLst/>
          </a:prstGeom>
          <a:noFill/>
        </p:spPr>
        <p:txBody>
          <a:bodyPr wrap="none" rtlCol="0">
            <a:spAutoFit/>
          </a:bodyPr>
          <a:lstStyle/>
          <a:p>
            <a:r>
              <a:rPr lang="en-US" dirty="0"/>
              <a:t>Based on the PMTE  Strategy, NT was approach </a:t>
            </a:r>
          </a:p>
          <a:p>
            <a:r>
              <a:rPr lang="en-US" dirty="0"/>
              <a:t>The strategy ID key strategic areas: RIERS, REMS, </a:t>
            </a:r>
            <a:r>
              <a:rPr lang="en-US" dirty="0" smtClean="0"/>
              <a:t>FINANCE </a:t>
            </a:r>
            <a:endParaRPr lang="en-US" dirty="0"/>
          </a:p>
        </p:txBody>
      </p:sp>
    </p:spTree>
    <p:extLst>
      <p:ext uri="{BB962C8B-B14F-4D97-AF65-F5344CB8AC3E}">
        <p14:creationId xmlns:p14="http://schemas.microsoft.com/office/powerpoint/2010/main" val="9411965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D18F8-749C-520A-391F-5CC4AA7A762C}"/>
              </a:ext>
            </a:extLst>
          </p:cNvPr>
          <p:cNvSpPr>
            <a:spLocks noGrp="1"/>
          </p:cNvSpPr>
          <p:nvPr>
            <p:ph type="title"/>
          </p:nvPr>
        </p:nvSpPr>
        <p:spPr>
          <a:xfrm>
            <a:off x="805978" y="186594"/>
            <a:ext cx="10351444" cy="1181610"/>
          </a:xfrm>
        </p:spPr>
        <p:txBody>
          <a:bodyPr>
            <a:normAutofit/>
          </a:bodyPr>
          <a:lstStyle/>
          <a:p>
            <a:pPr>
              <a:defRPr/>
            </a:pPr>
            <a:r>
              <a:rPr lang="en-ZA" sz="2396" b="1" dirty="0"/>
              <a:t>Operationalising of Billing and Accounting System</a:t>
            </a:r>
            <a:endParaRPr lang="en-US" sz="2396" dirty="0"/>
          </a:p>
        </p:txBody>
      </p:sp>
      <p:sp>
        <p:nvSpPr>
          <p:cNvPr id="3" name="TextBox 2">
            <a:extLst>
              <a:ext uri="{FF2B5EF4-FFF2-40B4-BE49-F238E27FC236}">
                <a16:creationId xmlns:a16="http://schemas.microsoft.com/office/drawing/2014/main" id="{F8CF7691-A3E3-A306-C2AA-581786C4D039}"/>
              </a:ext>
            </a:extLst>
          </p:cNvPr>
          <p:cNvSpPr txBox="1"/>
          <p:nvPr/>
        </p:nvSpPr>
        <p:spPr>
          <a:xfrm>
            <a:off x="805978" y="1665514"/>
            <a:ext cx="9350393" cy="5078313"/>
          </a:xfrm>
          <a:prstGeom prst="rect">
            <a:avLst/>
          </a:prstGeom>
          <a:noFill/>
        </p:spPr>
        <p:txBody>
          <a:bodyPr wrap="square" rtlCol="0">
            <a:spAutoFit/>
          </a:bodyPr>
          <a:lstStyle/>
          <a:p>
            <a:pPr marL="161746" indent="-161746">
              <a:buFont typeface="Arial" panose="020B0604020202020204" pitchFamily="34" charset="0"/>
              <a:buChar char="•"/>
              <a:defRPr/>
            </a:pPr>
            <a:r>
              <a:rPr lang="en-ZA" sz="1800" dirty="0">
                <a:solidFill>
                  <a:schemeClr val="dk1"/>
                </a:solidFill>
              </a:rPr>
              <a:t>2011: PMTE went out on open tender to procure a Billing and Accounting solution with capabilities to integrate to other systems. </a:t>
            </a:r>
          </a:p>
          <a:p>
            <a:pPr marL="161746" indent="-161746">
              <a:buFont typeface="Arial" panose="020B0604020202020204" pitchFamily="34" charset="0"/>
              <a:buChar char="•"/>
              <a:defRPr/>
            </a:pPr>
            <a:r>
              <a:rPr lang="en-ZA" dirty="0">
                <a:solidFill>
                  <a:schemeClr val="dk1"/>
                </a:solidFill>
              </a:rPr>
              <a:t>2013 – 2016 :Deloitte </a:t>
            </a:r>
            <a:r>
              <a:rPr lang="en-ZA" sz="1800" dirty="0">
                <a:solidFill>
                  <a:schemeClr val="dk1"/>
                </a:solidFill>
              </a:rPr>
              <a:t>appointed as SAGE service provider to implement the Billing and Accounting System. The decision to opt for SAGE was supported by amongst others the Gartner Magic Quadrant (Slide 10)</a:t>
            </a:r>
          </a:p>
          <a:p>
            <a:pPr marL="161746" indent="-161746">
              <a:buFont typeface="Arial" panose="020B0604020202020204" pitchFamily="34" charset="0"/>
              <a:buChar char="•"/>
              <a:defRPr/>
            </a:pPr>
            <a:r>
              <a:rPr lang="en-ZA" dirty="0">
                <a:solidFill>
                  <a:schemeClr val="dk1"/>
                </a:solidFill>
              </a:rPr>
              <a:t>Deloitte Architecture included </a:t>
            </a:r>
            <a:r>
              <a:rPr lang="en-ZA" dirty="0" err="1">
                <a:solidFill>
                  <a:schemeClr val="dk1"/>
                </a:solidFill>
              </a:rPr>
              <a:t>Archibus</a:t>
            </a:r>
            <a:r>
              <a:rPr lang="en-ZA" dirty="0">
                <a:solidFill>
                  <a:schemeClr val="dk1"/>
                </a:solidFill>
              </a:rPr>
              <a:t> Immovable Asset Management as the container for Immovable assets which SAGE will be paying against.  </a:t>
            </a:r>
          </a:p>
          <a:p>
            <a:pPr marL="161746" lvl="0" indent="-161746">
              <a:buFont typeface="Arial" panose="020B0604020202020204" pitchFamily="34" charset="0"/>
              <a:buChar char="•"/>
              <a:defRPr/>
            </a:pPr>
            <a:r>
              <a:rPr lang="en-ZA" dirty="0">
                <a:solidFill>
                  <a:schemeClr val="dk1"/>
                </a:solidFill>
              </a:rPr>
              <a:t>2014 : SAGE went live with Billing and Accounting modules</a:t>
            </a:r>
          </a:p>
          <a:p>
            <a:pPr marL="161746" indent="-161746">
              <a:buFont typeface="Arial" panose="020B0604020202020204" pitchFamily="34" charset="0"/>
              <a:buChar char="•"/>
              <a:defRPr/>
            </a:pPr>
            <a:r>
              <a:rPr lang="en-ZA" dirty="0">
                <a:solidFill>
                  <a:schemeClr val="dk1"/>
                </a:solidFill>
              </a:rPr>
              <a:t>2015 : The Department opted to increase the SAGE scope of work to include Lease IN, Lease OUT and Variable payment modules. </a:t>
            </a:r>
          </a:p>
          <a:p>
            <a:pPr marL="161746" indent="-161746">
              <a:buFont typeface="Arial" panose="020B0604020202020204" pitchFamily="34" charset="0"/>
              <a:buChar char="•"/>
              <a:defRPr/>
            </a:pPr>
            <a:r>
              <a:rPr lang="en-ZA" sz="1800" kern="1200" dirty="0">
                <a:solidFill>
                  <a:schemeClr val="dk1"/>
                </a:solidFill>
                <a:latin typeface="+mn-lt"/>
                <a:ea typeface="+mn-ea"/>
                <a:cs typeface="+mn-cs"/>
              </a:rPr>
              <a:t>2017</a:t>
            </a:r>
            <a:r>
              <a:rPr lang="en-ZA" dirty="0">
                <a:solidFill>
                  <a:schemeClr val="dk1"/>
                </a:solidFill>
              </a:rPr>
              <a:t>:  ICT Steering Committee decides to release  Deloitte  due  failure to deliver the Lease Out module and </a:t>
            </a:r>
            <a:r>
              <a:rPr lang="en-ZA" dirty="0" err="1">
                <a:solidFill>
                  <a:schemeClr val="dk1"/>
                </a:solidFill>
              </a:rPr>
              <a:t>LeaseIN</a:t>
            </a:r>
            <a:r>
              <a:rPr lang="en-ZA" dirty="0">
                <a:solidFill>
                  <a:schemeClr val="dk1"/>
                </a:solidFill>
              </a:rPr>
              <a:t> module</a:t>
            </a:r>
            <a:r>
              <a:rPr lang="en-ZA" sz="1800" kern="1200">
                <a:solidFill>
                  <a:schemeClr val="dk1"/>
                </a:solidFill>
                <a:latin typeface="+mn-lt"/>
                <a:ea typeface="+mn-ea"/>
                <a:cs typeface="+mn-cs"/>
              </a:rPr>
              <a:t>. </a:t>
            </a:r>
            <a:endParaRPr lang="en-ZA" sz="1800" kern="1200" dirty="0">
              <a:solidFill>
                <a:schemeClr val="dk1"/>
              </a:solidFill>
              <a:latin typeface="+mn-lt"/>
              <a:ea typeface="+mn-ea"/>
              <a:cs typeface="+mn-cs"/>
            </a:endParaRPr>
          </a:p>
          <a:p>
            <a:pPr marL="161746" indent="-161746">
              <a:buFont typeface="Arial" panose="020B0604020202020204" pitchFamily="34" charset="0"/>
              <a:buChar char="•"/>
              <a:defRPr/>
            </a:pPr>
            <a:r>
              <a:rPr lang="en-ZA" dirty="0">
                <a:solidFill>
                  <a:schemeClr val="dk1"/>
                </a:solidFill>
              </a:rPr>
              <a:t>2017 -2021 : Due to termination of </a:t>
            </a:r>
            <a:r>
              <a:rPr lang="en-ZA" dirty="0" err="1">
                <a:solidFill>
                  <a:schemeClr val="dk1"/>
                </a:solidFill>
              </a:rPr>
              <a:t>Deloite</a:t>
            </a:r>
            <a:r>
              <a:rPr lang="en-ZA" dirty="0">
                <a:solidFill>
                  <a:schemeClr val="dk1"/>
                </a:solidFill>
              </a:rPr>
              <a:t>,  </a:t>
            </a:r>
            <a:r>
              <a:rPr lang="en-ZA" dirty="0" err="1">
                <a:solidFill>
                  <a:schemeClr val="dk1"/>
                </a:solidFill>
              </a:rPr>
              <a:t>AccTech</a:t>
            </a:r>
            <a:r>
              <a:rPr lang="en-ZA" dirty="0">
                <a:solidFill>
                  <a:schemeClr val="dk1"/>
                </a:solidFill>
              </a:rPr>
              <a:t> appointed for SAGE support </a:t>
            </a:r>
          </a:p>
          <a:p>
            <a:pPr>
              <a:defRPr/>
            </a:pPr>
            <a:r>
              <a:rPr lang="en-ZA" dirty="0">
                <a:solidFill>
                  <a:schemeClr val="dk1"/>
                </a:solidFill>
              </a:rPr>
              <a:t>      &amp; implementation </a:t>
            </a:r>
          </a:p>
          <a:p>
            <a:pPr marL="161746" indent="-161746">
              <a:buFont typeface="Arial" panose="020B0604020202020204" pitchFamily="34" charset="0"/>
              <a:buChar char="•"/>
              <a:defRPr/>
            </a:pPr>
            <a:endParaRPr lang="en-ZA" sz="1800" kern="1200" dirty="0">
              <a:solidFill>
                <a:schemeClr val="dk1"/>
              </a:solidFill>
              <a:latin typeface="+mn-lt"/>
              <a:ea typeface="+mn-ea"/>
              <a:cs typeface="+mn-cs"/>
            </a:endParaRPr>
          </a:p>
          <a:p>
            <a:pPr marL="161746" indent="-161746">
              <a:buFont typeface="Arial" panose="020B0604020202020204" pitchFamily="34" charset="0"/>
              <a:buChar char="•"/>
              <a:defRPr/>
            </a:pPr>
            <a:endParaRPr lang="en-ZA" sz="1800" dirty="0">
              <a:solidFill>
                <a:schemeClr val="dk1"/>
              </a:solidFill>
            </a:endParaRPr>
          </a:p>
          <a:p>
            <a:pPr marL="342900" indent="-342900">
              <a:buAutoNum type="arabicPeriod"/>
            </a:pPr>
            <a:endParaRPr lang="en-US" dirty="0"/>
          </a:p>
          <a:p>
            <a:endParaRPr lang="en-US" dirty="0"/>
          </a:p>
        </p:txBody>
      </p:sp>
    </p:spTree>
    <p:extLst>
      <p:ext uri="{BB962C8B-B14F-4D97-AF65-F5344CB8AC3E}">
        <p14:creationId xmlns:p14="http://schemas.microsoft.com/office/powerpoint/2010/main" val="93161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p4sK3Gt2EaInjtSVIEe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Pd9E8bN9EawfAxgO4mC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isBHNRYrEWmi4L0yyOP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p4sK3Gt2EaInjtSVIEe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Pd9E8bN9EawfAxgO4mC5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isBHNRYrEWmi4L0yyOPuA"/>
</p:tagLst>
</file>

<file path=ppt/theme/theme1.xml><?xml version="1.0" encoding="utf-8"?>
<a:theme xmlns:a="http://schemas.openxmlformats.org/drawingml/2006/main" name="TS102895266">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Ver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Content Slide 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ontent Slide 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315</TotalTime>
  <Words>5170</Words>
  <Application>Microsoft Office PowerPoint</Application>
  <PresentationFormat>Widescreen</PresentationFormat>
  <Paragraphs>880</Paragraphs>
  <Slides>51</Slides>
  <Notes>9</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0</vt:i4>
      </vt:variant>
      <vt:variant>
        <vt:lpstr>Slide Titles</vt:lpstr>
      </vt:variant>
      <vt:variant>
        <vt:i4>51</vt:i4>
      </vt:variant>
    </vt:vector>
  </HeadingPairs>
  <TitlesOfParts>
    <vt:vector size="65" baseType="lpstr">
      <vt:lpstr>ＭＳ Ｐゴシック</vt:lpstr>
      <vt:lpstr>Arial</vt:lpstr>
      <vt:lpstr>Arial Narrow</vt:lpstr>
      <vt:lpstr>Arial Rounded MT Bold</vt:lpstr>
      <vt:lpstr>Arial Unicode MS</vt:lpstr>
      <vt:lpstr>Calibri</vt:lpstr>
      <vt:lpstr>Century Gothic</vt:lpstr>
      <vt:lpstr>Courier New</vt:lpstr>
      <vt:lpstr>Helvetica</vt:lpstr>
      <vt:lpstr>Symbol</vt:lpstr>
      <vt:lpstr>Times New Roman</vt:lpstr>
      <vt:lpstr>TS102895266</vt:lpstr>
      <vt:lpstr>Content Slide 1</vt:lpstr>
      <vt:lpstr>1_Content Slide 1</vt:lpstr>
      <vt:lpstr>Presentation to the Department of Public Works Portfolio Committee</vt:lpstr>
      <vt:lpstr>Contents </vt:lpstr>
      <vt:lpstr>Glossary of terms </vt:lpstr>
      <vt:lpstr>HISTORICAL CONTEXT</vt:lpstr>
      <vt:lpstr>HISTORICAL CONTEXT (CONTINUED)</vt:lpstr>
      <vt:lpstr>PMTE STRATEGY</vt:lpstr>
      <vt:lpstr>PowerPoint Presentation</vt:lpstr>
      <vt:lpstr>PowerPoint Presentation</vt:lpstr>
      <vt:lpstr>Operationalising of Billing and Accounting System</vt:lpstr>
      <vt:lpstr>PowerPoint Presentation</vt:lpstr>
      <vt:lpstr>Operationalising of Archibus ERP system</vt:lpstr>
      <vt:lpstr>PowerPoint Presentation</vt:lpstr>
      <vt:lpstr>GARTNER MAGIC QUADRANT (ARCHIBUS) </vt:lpstr>
      <vt:lpstr>ARCHIBUS ENTERPRISE OVERVIEW ACCENTURE CONCLUSIONS    </vt:lpstr>
      <vt:lpstr>The DPWI ERP System    </vt:lpstr>
      <vt:lpstr>PMTE APPLICATIONS conceptual landscape (planning)</vt:lpstr>
      <vt:lpstr>PMTE APPLICATIONS conceptual landscape (execution)</vt:lpstr>
      <vt:lpstr>PMTE APPLICATIONS conceptual landscape (SCM)</vt:lpstr>
      <vt:lpstr>PMTE APPLICATIONS conceptual landscape (finance)</vt:lpstr>
      <vt:lpstr>APPLICATIONS OF CHOICE : ARCHIBUS &amp; SAGE </vt:lpstr>
      <vt:lpstr>PowerPoint Presentation</vt:lpstr>
      <vt:lpstr>PowerPoint Presentation</vt:lpstr>
      <vt:lpstr>ARCHIBUS MODULE FULL SUITE</vt:lpstr>
      <vt:lpstr>PowerPoint Presentation</vt:lpstr>
      <vt:lpstr>PowerPoint Presentation</vt:lpstr>
      <vt:lpstr>PowerPoint Presentation</vt:lpstr>
      <vt:lpstr>PowerPoint Presentation</vt:lpstr>
      <vt:lpstr>PowerPoint Presentation</vt:lpstr>
      <vt:lpstr>PowerPoint Presentation</vt:lpstr>
      <vt:lpstr>SAGE FULL SUITE</vt:lpstr>
      <vt:lpstr>SAGE FULL SUITE</vt:lpstr>
      <vt:lpstr>ERP &amp; SAGE VALUE CHAIN PROCESS INTEGRATION FRAMEWORK</vt:lpstr>
      <vt:lpstr>SAGE VALUE CHAIN  process integration</vt:lpstr>
      <vt:lpstr>PowerPoint Presentation</vt:lpstr>
      <vt:lpstr>ARCHIBUS MODULE CURRENTLY DEPLOYED AND FUNCTIONALITY AVAILABLE FOR BUSINESS USE.</vt:lpstr>
      <vt:lpstr>ARCHIBUS MODULE STATUS – Dash board</vt:lpstr>
      <vt:lpstr> CURRENT MODULES – LIVE AS OF APRIL 2018</vt:lpstr>
      <vt:lpstr>IMMOVABLE ASSET REGISTER VIEW </vt:lpstr>
      <vt:lpstr>FM CALL LOG AND STATUS VIEW</vt:lpstr>
      <vt:lpstr>LEASE-IN VIEW</vt:lpstr>
      <vt:lpstr>IMMOVABLE ASSET REGISTER GIS VIEW</vt:lpstr>
      <vt:lpstr>GRAP REPORTING STANDARDS</vt:lpstr>
      <vt:lpstr>           SAGE System</vt:lpstr>
      <vt:lpstr>CURRENT SAGE MODULES IN PRODUCTION SINCE 2014</vt:lpstr>
      <vt:lpstr>Project Expenditure</vt:lpstr>
      <vt:lpstr>ARCHIBUS Project Expenditure</vt:lpstr>
      <vt:lpstr>SAGE Project Expenditure</vt:lpstr>
      <vt:lpstr>Risk and Mitigation</vt:lpstr>
      <vt:lpstr>SAGE-ARCHIBUS delivery plan: Next Steps </vt:lpstr>
      <vt:lpstr>SAGE-ARCHIBUS delivery plan: Next Step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D ICT Report  CS Branch Meeting – 27 September 2019</dc:title>
  <dc:creator>Bheki Zwane</dc:creator>
  <cp:lastModifiedBy>Lwazi Ben</cp:lastModifiedBy>
  <cp:revision>831</cp:revision>
  <cp:lastPrinted>2023-05-26T10:05:50Z</cp:lastPrinted>
  <dcterms:created xsi:type="dcterms:W3CDTF">2019-09-24T12:19:50Z</dcterms:created>
  <dcterms:modified xsi:type="dcterms:W3CDTF">2023-05-30T12:51:06Z</dcterms:modified>
</cp:coreProperties>
</file>